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3" r:id="rId4"/>
    <p:sldMasterId id="2147483788" r:id="rId5"/>
    <p:sldMasterId id="2147483805" r:id="rId6"/>
    <p:sldMasterId id="2147483823" r:id="rId7"/>
    <p:sldMasterId id="2147483839" r:id="rId8"/>
  </p:sldMasterIdLst>
  <p:notesMasterIdLst>
    <p:notesMasterId r:id="rId18"/>
  </p:notesMasterIdLst>
  <p:handoutMasterIdLst>
    <p:handoutMasterId r:id="rId19"/>
  </p:handoutMasterIdLst>
  <p:sldIdLst>
    <p:sldId id="1785" r:id="rId9"/>
    <p:sldId id="2147483511" r:id="rId10"/>
    <p:sldId id="2147483513" r:id="rId11"/>
    <p:sldId id="2147480518" r:id="rId12"/>
    <p:sldId id="2147483514" r:id="rId13"/>
    <p:sldId id="2147480521" r:id="rId14"/>
    <p:sldId id="2147483509" r:id="rId15"/>
    <p:sldId id="2147483512" r:id="rId16"/>
    <p:sldId id="494" r:id="rId17"/>
  </p:sldIdLst>
  <p:sldSz cx="9144000" cy="5143500" type="screen16x9"/>
  <p:notesSz cx="6797675" cy="9926638"/>
  <p:defaultTextStyle>
    <a:defPPr>
      <a:defRPr lang="pl-PL"/>
    </a:defPPr>
    <a:lvl1pPr marL="0" algn="l" defTabSz="35066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50663" algn="l" defTabSz="35066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701327" algn="l" defTabSz="35066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51991" algn="l" defTabSz="35066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402653" algn="l" defTabSz="35066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53316" algn="l" defTabSz="35066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103980" algn="l" defTabSz="35066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54643" algn="l" defTabSz="35066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805306" algn="l" defTabSz="35066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kcja domyślna" id="{FF815611-94B7-4FC5-96F4-2AEC3F495FCF}">
          <p14:sldIdLst>
            <p14:sldId id="1785"/>
            <p14:sldId id="2147483511"/>
            <p14:sldId id="2147483513"/>
            <p14:sldId id="2147480518"/>
            <p14:sldId id="2147483514"/>
            <p14:sldId id="2147480521"/>
          </p14:sldIdLst>
        </p14:section>
        <p14:section name="backup" id="{29C81178-E34B-4822-BD89-2A91999FB01B}">
          <p14:sldIdLst>
            <p14:sldId id="2147483509"/>
            <p14:sldId id="2147483512"/>
            <p14:sldId id="4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70" userDrawn="1">
          <p15:clr>
            <a:srgbClr val="A4A3A4"/>
          </p15:clr>
        </p15:guide>
        <p15:guide id="3" pos="2483" userDrawn="1">
          <p15:clr>
            <a:srgbClr val="A4A3A4"/>
          </p15:clr>
        </p15:guide>
        <p15:guide id="4" pos="5545" userDrawn="1">
          <p15:clr>
            <a:srgbClr val="A4A3A4"/>
          </p15:clr>
        </p15:guide>
        <p15:guide id="5" orient="horz" pos="158" userDrawn="1">
          <p15:clr>
            <a:srgbClr val="A4A3A4"/>
          </p15:clr>
        </p15:guide>
        <p15:guide id="6" orient="horz" pos="3151" userDrawn="1">
          <p15:clr>
            <a:srgbClr val="A4A3A4"/>
          </p15:clr>
        </p15:guide>
        <p15:guide id="7" orient="horz" pos="2697" userDrawn="1">
          <p15:clr>
            <a:srgbClr val="A4A3A4"/>
          </p15:clr>
        </p15:guide>
        <p15:guide id="8" orient="horz" pos="1110" userDrawn="1">
          <p15:clr>
            <a:srgbClr val="A4A3A4"/>
          </p15:clr>
        </p15:guide>
        <p15:guide id="9" orient="horz" pos="514" userDrawn="1">
          <p15:clr>
            <a:srgbClr val="A4A3A4"/>
          </p15:clr>
        </p15:guide>
        <p15:guide id="11" pos="1803" userDrawn="1">
          <p15:clr>
            <a:srgbClr val="A4A3A4"/>
          </p15:clr>
        </p15:guide>
        <p15:guide id="12" orient="horz" pos="2300" userDrawn="1">
          <p15:clr>
            <a:srgbClr val="A4A3A4"/>
          </p15:clr>
        </p15:guide>
        <p15:guide id="13" pos="442" userDrawn="1">
          <p15:clr>
            <a:srgbClr val="A4A3A4"/>
          </p15:clr>
        </p15:guide>
        <p15:guide id="14" pos="39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a Pacuszka" initials="MP" lastIdx="8" clrIdx="2">
    <p:extLst>
      <p:ext uri="{19B8F6BF-5375-455C-9EA6-DF929625EA0E}">
        <p15:presenceInfo xmlns:p15="http://schemas.microsoft.com/office/powerpoint/2012/main" userId="S-1-5-21-583907252-117609710-839522115-1180244" providerId="AD"/>
      </p:ext>
    </p:extLst>
  </p:cmAuthor>
  <p:cmAuthor id="2" name="Aleksandra Chartuniewicz" initials="AC" lastIdx="19" clrIdx="1">
    <p:extLst>
      <p:ext uri="{19B8F6BF-5375-455C-9EA6-DF929625EA0E}">
        <p15:presenceInfo xmlns:p15="http://schemas.microsoft.com/office/powerpoint/2012/main" userId="S-1-5-21-583907252-117609710-839522115-1209846" providerId="AD"/>
      </p:ext>
    </p:extLst>
  </p:cmAuthor>
  <p:cmAuthor id="3" name="Joanna Pustkowska" initials="JP" lastIdx="18" clrIdx="3">
    <p:extLst>
      <p:ext uri="{19B8F6BF-5375-455C-9EA6-DF929625EA0E}">
        <p15:presenceInfo xmlns:p15="http://schemas.microsoft.com/office/powerpoint/2012/main" userId="S-1-5-21-583907252-117609710-839522115-1205625" providerId="AD"/>
      </p:ext>
    </p:extLst>
  </p:cmAuthor>
  <p:cmAuthor id="4" name="Krzysztof Drozd" initials="KD" lastIdx="23" clrIdx="4">
    <p:extLst>
      <p:ext uri="{19B8F6BF-5375-455C-9EA6-DF929625EA0E}">
        <p15:presenceInfo xmlns:p15="http://schemas.microsoft.com/office/powerpoint/2012/main" userId="S-1-5-21-583907252-117609710-839522115-1209848" providerId="AD"/>
      </p:ext>
    </p:extLst>
  </p:cmAuthor>
  <p:cmAuthor id="11" name="Maciej Wlazlo" initials="MW" lastIdx="11" clrIdx="5">
    <p:extLst>
      <p:ext uri="{19B8F6BF-5375-455C-9EA6-DF929625EA0E}">
        <p15:presenceInfo xmlns:p15="http://schemas.microsoft.com/office/powerpoint/2012/main" userId="S-1-5-21-583907252-117609710-839522115-1212111" providerId="AD"/>
      </p:ext>
    </p:extLst>
  </p:cmAuthor>
  <p:cmAuthor id="12" name="Marta Cencora" initials="MC" lastIdx="18" clrIdx="6">
    <p:extLst>
      <p:ext uri="{19B8F6BF-5375-455C-9EA6-DF929625EA0E}">
        <p15:presenceInfo xmlns:p15="http://schemas.microsoft.com/office/powerpoint/2012/main" userId="S-1-5-21-583907252-117609710-839522115-1179519" providerId="AD"/>
      </p:ext>
    </p:extLst>
  </p:cmAuthor>
  <p:cmAuthor id="13" name="Aleksander Wlodarz" initials="AW" lastIdx="11" clrIdx="7">
    <p:extLst>
      <p:ext uri="{19B8F6BF-5375-455C-9EA6-DF929625EA0E}">
        <p15:presenceInfo xmlns:p15="http://schemas.microsoft.com/office/powerpoint/2012/main" userId="S-1-5-21-583907252-117609710-839522115-1233024" providerId="AD"/>
      </p:ext>
    </p:extLst>
  </p:cmAuthor>
  <p:cmAuthor id="14" name="Malwina Przewdziecka" initials="MP" lastIdx="2" clrIdx="8">
    <p:extLst>
      <p:ext uri="{19B8F6BF-5375-455C-9EA6-DF929625EA0E}">
        <p15:presenceInfo xmlns:p15="http://schemas.microsoft.com/office/powerpoint/2012/main" userId="S-1-5-21-583907252-117609710-839522115-1238697" providerId="AD"/>
      </p:ext>
    </p:extLst>
  </p:cmAuthor>
  <p:cmAuthor id="15" name="Malgorzata Obiegla-Duda" initials="MO" lastIdx="0" clrIdx="9">
    <p:extLst>
      <p:ext uri="{19B8F6BF-5375-455C-9EA6-DF929625EA0E}">
        <p15:presenceInfo xmlns:p15="http://schemas.microsoft.com/office/powerpoint/2012/main" userId="S-1-5-21-583907252-117609710-839522115-1205556" providerId="AD"/>
      </p:ext>
    </p:extLst>
  </p:cmAuthor>
  <p:cmAuthor id="16" name="Tomasz Switalski" initials="TS" lastIdx="14" clrIdx="10">
    <p:extLst>
      <p:ext uri="{19B8F6BF-5375-455C-9EA6-DF929625EA0E}">
        <p15:presenceInfo xmlns:p15="http://schemas.microsoft.com/office/powerpoint/2012/main" userId="S-1-5-21-583907252-117609710-839522115-1242030" providerId="AD"/>
      </p:ext>
    </p:extLst>
  </p:cmAuthor>
  <p:cmAuthor id="17" name="Dominika Falandysz" initials="DF" lastIdx="15" clrIdx="11">
    <p:extLst>
      <p:ext uri="{19B8F6BF-5375-455C-9EA6-DF929625EA0E}">
        <p15:presenceInfo xmlns:p15="http://schemas.microsoft.com/office/powerpoint/2012/main" userId="S-1-5-21-583907252-117609710-839522115-1240180" providerId="AD"/>
      </p:ext>
    </p:extLst>
  </p:cmAuthor>
  <p:cmAuthor id="18" name="Alicja Chmielewska" initials="AC" lastIdx="1" clrIdx="12">
    <p:extLst>
      <p:ext uri="{19B8F6BF-5375-455C-9EA6-DF929625EA0E}">
        <p15:presenceInfo xmlns:p15="http://schemas.microsoft.com/office/powerpoint/2012/main" userId="S-1-5-21-583907252-117609710-839522115-1242630" providerId="AD"/>
      </p:ext>
    </p:extLst>
  </p:cmAuthor>
  <p:cmAuthor id="19" name="Ewa Owarzany-Rocco" initials="EOR" lastIdx="5" clrIdx="13">
    <p:extLst>
      <p:ext uri="{19B8F6BF-5375-455C-9EA6-DF929625EA0E}">
        <p15:presenceInfo xmlns:p15="http://schemas.microsoft.com/office/powerpoint/2012/main" userId="S::EOwarzany@cabppl.onmicrosoft.com::2b9a2760-7a1a-4b05-b18f-416c270a0ec6" providerId="AD"/>
      </p:ext>
    </p:extLst>
  </p:cmAuthor>
  <p:cmAuthor id="20" name="Monika Sapilak" initials="MS" lastIdx="1" clrIdx="14">
    <p:extLst>
      <p:ext uri="{19B8F6BF-5375-455C-9EA6-DF929625EA0E}">
        <p15:presenceInfo xmlns:p15="http://schemas.microsoft.com/office/powerpoint/2012/main" userId="S::MSapilak@cabppl.onmicrosoft.com::923c30a3-fc54-4f4a-b55e-a2f4dc1b851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9597"/>
    <a:srgbClr val="00B8BC"/>
    <a:srgbClr val="CCFFCC"/>
    <a:srgbClr val="3367FB"/>
    <a:srgbClr val="F3FFF3"/>
    <a:srgbClr val="003296"/>
    <a:srgbClr val="5845C7"/>
    <a:srgbClr val="6943C9"/>
    <a:srgbClr val="C59E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 pośredni 2 — Ak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 pośredni 2 — Ak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yl pośredni 2 — Ak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Styl pośredni 1 — Ak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126" autoAdjust="0"/>
    <p:restoredTop sz="95201" autoAdjust="0"/>
  </p:normalViewPr>
  <p:slideViewPr>
    <p:cSldViewPr snapToObjects="1">
      <p:cViewPr varScale="1">
        <p:scale>
          <a:sx n="109" d="100"/>
          <a:sy n="109" d="100"/>
        </p:scale>
        <p:origin x="1142" y="82"/>
      </p:cViewPr>
      <p:guideLst>
        <p:guide orient="horz" pos="2470"/>
        <p:guide pos="2483"/>
        <p:guide pos="5545"/>
        <p:guide orient="horz" pos="158"/>
        <p:guide orient="horz" pos="3151"/>
        <p:guide orient="horz" pos="2697"/>
        <p:guide orient="horz" pos="1110"/>
        <p:guide orient="horz" pos="514"/>
        <p:guide pos="1803"/>
        <p:guide orient="horz" pos="2300"/>
        <p:guide pos="442"/>
        <p:guide pos="39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47" d="100"/>
          <a:sy n="47" d="100"/>
        </p:scale>
        <p:origin x="2792" y="52"/>
      </p:cViewPr>
      <p:guideLst/>
    </p:cSldViewPr>
  </p:notesViewPr>
  <p:gridSpacing cx="90001" cy="900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dkrawczyk\Desktop\Strategia%202026\KYC%202025%202026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02153200390424"/>
          <c:y val="1.9165335950439108E-2"/>
          <c:w val="0.84231801947803009"/>
          <c:h val="0.531687439760591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2026'!$P$3</c:f>
              <c:strCache>
                <c:ptCount val="1"/>
                <c:pt idx="0">
                  <c:v>Jan.202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2026'!$O$4:$O$62</c:f>
              <c:strCache>
                <c:ptCount val="59"/>
                <c:pt idx="0">
                  <c:v>AGNIESZKA BAŁDOWSKA-DACZ</c:v>
                </c:pt>
                <c:pt idx="1">
                  <c:v>ALEKSANDER PODZEREK</c:v>
                </c:pt>
                <c:pt idx="2">
                  <c:v>ALEKSANDRA HAJDUK</c:v>
                </c:pt>
                <c:pt idx="3">
                  <c:v>ALEKSANDRA SZUMSKA</c:v>
                </c:pt>
                <c:pt idx="4">
                  <c:v>ANGELIKA CIESIELSKA</c:v>
                </c:pt>
                <c:pt idx="5">
                  <c:v>ANNA DĄBROWSKA</c:v>
                </c:pt>
                <c:pt idx="6">
                  <c:v>ANNA KOSOWSKA</c:v>
                </c:pt>
                <c:pt idx="7">
                  <c:v>ANNA MATUSZEWSKA</c:v>
                </c:pt>
                <c:pt idx="8">
                  <c:v>ARKADIUSZ DURASIEWICZ</c:v>
                </c:pt>
                <c:pt idx="9">
                  <c:v>BARBARA NASKRĘT</c:v>
                </c:pt>
                <c:pt idx="10">
                  <c:v>BARBARA TALKO</c:v>
                </c:pt>
                <c:pt idx="11">
                  <c:v>BARBARA WISNIEWSKA</c:v>
                </c:pt>
                <c:pt idx="12">
                  <c:v>BEATA JAWORSKA</c:v>
                </c:pt>
                <c:pt idx="13">
                  <c:v>BEATA MARCINIAK</c:v>
                </c:pt>
                <c:pt idx="14">
                  <c:v>BOGUSŁAW BANAŚ</c:v>
                </c:pt>
                <c:pt idx="15">
                  <c:v>BOŻENA ZAKRZEWSKA</c:v>
                </c:pt>
                <c:pt idx="16">
                  <c:v>DAMIAN KAMINSKI</c:v>
                </c:pt>
                <c:pt idx="17">
                  <c:v>DANUTA WINCŁAW</c:v>
                </c:pt>
                <c:pt idx="18">
                  <c:v>DOMINIK RADLICA</c:v>
                </c:pt>
                <c:pt idx="19">
                  <c:v>ELŻBIETA GAŁĄZKA</c:v>
                </c:pt>
                <c:pt idx="20">
                  <c:v>EWELINA PROKOP-JONAK</c:v>
                </c:pt>
                <c:pt idx="21">
                  <c:v>GRZEGORZ KLISOWSKI</c:v>
                </c:pt>
                <c:pt idx="22">
                  <c:v>HUBERT KRAWIEC</c:v>
                </c:pt>
                <c:pt idx="23">
                  <c:v>INGA GRYCZEWSKA</c:v>
                </c:pt>
                <c:pt idx="24">
                  <c:v>IRENEUSZ MIETEŃ</c:v>
                </c:pt>
                <c:pt idx="25">
                  <c:v>JADWIGA ADAMEK</c:v>
                </c:pt>
                <c:pt idx="26">
                  <c:v>JAKUB BAWÓŁ</c:v>
                </c:pt>
                <c:pt idx="27">
                  <c:v>JAN PAWŁOWSKI</c:v>
                </c:pt>
                <c:pt idx="28">
                  <c:v>KACPER STOJEWSKI</c:v>
                </c:pt>
                <c:pt idx="29">
                  <c:v>KAMIL KAMIŃSKI</c:v>
                </c:pt>
                <c:pt idx="30">
                  <c:v>KAMILA CHARCZUK</c:v>
                </c:pt>
                <c:pt idx="31">
                  <c:v>KATARZYNA STABLEWSKA</c:v>
                </c:pt>
                <c:pt idx="32">
                  <c:v>KLAUDIA JAWORSKA</c:v>
                </c:pt>
                <c:pt idx="33">
                  <c:v>KRZYSZTOF PSIUK</c:v>
                </c:pt>
                <c:pt idx="34">
                  <c:v>KRZYSZTOF STEC</c:v>
                </c:pt>
                <c:pt idx="35">
                  <c:v>ŁUKASZ KORZENIEWSKI</c:v>
                </c:pt>
                <c:pt idx="36">
                  <c:v>MAGDALENA BUGAJSKA</c:v>
                </c:pt>
                <c:pt idx="37">
                  <c:v>MAGDALENA ROCKA</c:v>
                </c:pt>
                <c:pt idx="38">
                  <c:v>MAŁGORZATA TREJTOWICZ</c:v>
                </c:pt>
                <c:pt idx="39">
                  <c:v>MAREK ZWOLIŃSKI</c:v>
                </c:pt>
                <c:pt idx="40">
                  <c:v>MICHAŁ KĘDZIERA</c:v>
                </c:pt>
                <c:pt idx="41">
                  <c:v>MICHAŁ SAMOREK</c:v>
                </c:pt>
                <c:pt idx="42">
                  <c:v>MICHAŁ WITCZAK</c:v>
                </c:pt>
                <c:pt idx="43">
                  <c:v>MIESZKO MARSZALEC</c:v>
                </c:pt>
                <c:pt idx="44">
                  <c:v>MONIKA JANICKA</c:v>
                </c:pt>
                <c:pt idx="45">
                  <c:v>PAULINA HARASYM</c:v>
                </c:pt>
                <c:pt idx="46">
                  <c:v>PAULINA SIERACKA</c:v>
                </c:pt>
                <c:pt idx="47">
                  <c:v>PAWEŁ OSTRZYŻEK</c:v>
                </c:pt>
                <c:pt idx="48">
                  <c:v>PAWEŁ REWIG</c:v>
                </c:pt>
                <c:pt idx="49">
                  <c:v>PIOTR DZIEDZIC</c:v>
                </c:pt>
                <c:pt idx="50">
                  <c:v>PIOTR STASIAK</c:v>
                </c:pt>
                <c:pt idx="51">
                  <c:v>RADOSŁAW KWEC</c:v>
                </c:pt>
                <c:pt idx="52">
                  <c:v>ROBERT BURAKOWSKI</c:v>
                </c:pt>
                <c:pt idx="53">
                  <c:v>SANDRA DANKOWSKA</c:v>
                </c:pt>
                <c:pt idx="54">
                  <c:v>SYLWIA KUŚMIERZ</c:v>
                </c:pt>
                <c:pt idx="55">
                  <c:v>SYLWIA ŚLIWA</c:v>
                </c:pt>
                <c:pt idx="56">
                  <c:v>SYLWIA ZIELIŃSKA</c:v>
                </c:pt>
                <c:pt idx="57">
                  <c:v>TERESA SARGA</c:v>
                </c:pt>
                <c:pt idx="58">
                  <c:v>URSZULA GIERASIMOWICZ</c:v>
                </c:pt>
              </c:strCache>
            </c:strRef>
          </c:cat>
          <c:val>
            <c:numRef>
              <c:f>'2026'!$P$4:$P$62</c:f>
              <c:numCache>
                <c:formatCode>General</c:formatCode>
                <c:ptCount val="59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4">
                  <c:v>1</c:v>
                </c:pt>
                <c:pt idx="5">
                  <c:v>4</c:v>
                </c:pt>
                <c:pt idx="6">
                  <c:v>5</c:v>
                </c:pt>
                <c:pt idx="7">
                  <c:v>3</c:v>
                </c:pt>
                <c:pt idx="8">
                  <c:v>6</c:v>
                </c:pt>
                <c:pt idx="9">
                  <c:v>8</c:v>
                </c:pt>
                <c:pt idx="10">
                  <c:v>1</c:v>
                </c:pt>
                <c:pt idx="12">
                  <c:v>2</c:v>
                </c:pt>
                <c:pt idx="13">
                  <c:v>12</c:v>
                </c:pt>
                <c:pt idx="14">
                  <c:v>9</c:v>
                </c:pt>
                <c:pt idx="15">
                  <c:v>2</c:v>
                </c:pt>
                <c:pt idx="17">
                  <c:v>4</c:v>
                </c:pt>
                <c:pt idx="18">
                  <c:v>3</c:v>
                </c:pt>
                <c:pt idx="19">
                  <c:v>4</c:v>
                </c:pt>
                <c:pt idx="20">
                  <c:v>5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  <c:pt idx="24">
                  <c:v>13</c:v>
                </c:pt>
                <c:pt idx="25">
                  <c:v>11</c:v>
                </c:pt>
                <c:pt idx="26">
                  <c:v>1</c:v>
                </c:pt>
                <c:pt idx="27">
                  <c:v>7</c:v>
                </c:pt>
                <c:pt idx="28">
                  <c:v>1</c:v>
                </c:pt>
                <c:pt idx="29">
                  <c:v>15</c:v>
                </c:pt>
                <c:pt idx="32">
                  <c:v>7</c:v>
                </c:pt>
                <c:pt idx="33">
                  <c:v>3</c:v>
                </c:pt>
                <c:pt idx="35">
                  <c:v>6</c:v>
                </c:pt>
                <c:pt idx="36">
                  <c:v>6</c:v>
                </c:pt>
                <c:pt idx="37">
                  <c:v>10</c:v>
                </c:pt>
                <c:pt idx="38">
                  <c:v>7</c:v>
                </c:pt>
                <c:pt idx="39">
                  <c:v>2</c:v>
                </c:pt>
                <c:pt idx="40">
                  <c:v>10</c:v>
                </c:pt>
                <c:pt idx="41">
                  <c:v>2</c:v>
                </c:pt>
                <c:pt idx="42">
                  <c:v>2</c:v>
                </c:pt>
                <c:pt idx="43">
                  <c:v>7</c:v>
                </c:pt>
                <c:pt idx="44">
                  <c:v>6</c:v>
                </c:pt>
                <c:pt idx="47">
                  <c:v>14</c:v>
                </c:pt>
                <c:pt idx="48">
                  <c:v>5</c:v>
                </c:pt>
                <c:pt idx="49">
                  <c:v>2</c:v>
                </c:pt>
                <c:pt idx="50">
                  <c:v>13</c:v>
                </c:pt>
                <c:pt idx="51">
                  <c:v>0</c:v>
                </c:pt>
                <c:pt idx="52">
                  <c:v>1</c:v>
                </c:pt>
                <c:pt idx="53">
                  <c:v>2</c:v>
                </c:pt>
                <c:pt idx="54">
                  <c:v>8</c:v>
                </c:pt>
                <c:pt idx="55">
                  <c:v>7</c:v>
                </c:pt>
                <c:pt idx="56">
                  <c:v>5</c:v>
                </c:pt>
                <c:pt idx="57">
                  <c:v>4</c:v>
                </c:pt>
                <c:pt idx="58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97-40E3-B70E-6CC10A5C7626}"/>
            </c:ext>
          </c:extLst>
        </c:ser>
        <c:ser>
          <c:idx val="1"/>
          <c:order val="1"/>
          <c:tx>
            <c:strRef>
              <c:f>'2026'!$Q$3</c:f>
              <c:strCache>
                <c:ptCount val="1"/>
                <c:pt idx="0">
                  <c:v>Feb.202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2026'!$O$4:$O$62</c:f>
              <c:strCache>
                <c:ptCount val="59"/>
                <c:pt idx="0">
                  <c:v>AGNIESZKA BAŁDOWSKA-DACZ</c:v>
                </c:pt>
                <c:pt idx="1">
                  <c:v>ALEKSANDER PODZEREK</c:v>
                </c:pt>
                <c:pt idx="2">
                  <c:v>ALEKSANDRA HAJDUK</c:v>
                </c:pt>
                <c:pt idx="3">
                  <c:v>ALEKSANDRA SZUMSKA</c:v>
                </c:pt>
                <c:pt idx="4">
                  <c:v>ANGELIKA CIESIELSKA</c:v>
                </c:pt>
                <c:pt idx="5">
                  <c:v>ANNA DĄBROWSKA</c:v>
                </c:pt>
                <c:pt idx="6">
                  <c:v>ANNA KOSOWSKA</c:v>
                </c:pt>
                <c:pt idx="7">
                  <c:v>ANNA MATUSZEWSKA</c:v>
                </c:pt>
                <c:pt idx="8">
                  <c:v>ARKADIUSZ DURASIEWICZ</c:v>
                </c:pt>
                <c:pt idx="9">
                  <c:v>BARBARA NASKRĘT</c:v>
                </c:pt>
                <c:pt idx="10">
                  <c:v>BARBARA TALKO</c:v>
                </c:pt>
                <c:pt idx="11">
                  <c:v>BARBARA WISNIEWSKA</c:v>
                </c:pt>
                <c:pt idx="12">
                  <c:v>BEATA JAWORSKA</c:v>
                </c:pt>
                <c:pt idx="13">
                  <c:v>BEATA MARCINIAK</c:v>
                </c:pt>
                <c:pt idx="14">
                  <c:v>BOGUSŁAW BANAŚ</c:v>
                </c:pt>
                <c:pt idx="15">
                  <c:v>BOŻENA ZAKRZEWSKA</c:v>
                </c:pt>
                <c:pt idx="16">
                  <c:v>DAMIAN KAMINSKI</c:v>
                </c:pt>
                <c:pt idx="17">
                  <c:v>DANUTA WINCŁAW</c:v>
                </c:pt>
                <c:pt idx="18">
                  <c:v>DOMINIK RADLICA</c:v>
                </c:pt>
                <c:pt idx="19">
                  <c:v>ELŻBIETA GAŁĄZKA</c:v>
                </c:pt>
                <c:pt idx="20">
                  <c:v>EWELINA PROKOP-JONAK</c:v>
                </c:pt>
                <c:pt idx="21">
                  <c:v>GRZEGORZ KLISOWSKI</c:v>
                </c:pt>
                <c:pt idx="22">
                  <c:v>HUBERT KRAWIEC</c:v>
                </c:pt>
                <c:pt idx="23">
                  <c:v>INGA GRYCZEWSKA</c:v>
                </c:pt>
                <c:pt idx="24">
                  <c:v>IRENEUSZ MIETEŃ</c:v>
                </c:pt>
                <c:pt idx="25">
                  <c:v>JADWIGA ADAMEK</c:v>
                </c:pt>
                <c:pt idx="26">
                  <c:v>JAKUB BAWÓŁ</c:v>
                </c:pt>
                <c:pt idx="27">
                  <c:v>JAN PAWŁOWSKI</c:v>
                </c:pt>
                <c:pt idx="28">
                  <c:v>KACPER STOJEWSKI</c:v>
                </c:pt>
                <c:pt idx="29">
                  <c:v>KAMIL KAMIŃSKI</c:v>
                </c:pt>
                <c:pt idx="30">
                  <c:v>KAMILA CHARCZUK</c:v>
                </c:pt>
                <c:pt idx="31">
                  <c:v>KATARZYNA STABLEWSKA</c:v>
                </c:pt>
                <c:pt idx="32">
                  <c:v>KLAUDIA JAWORSKA</c:v>
                </c:pt>
                <c:pt idx="33">
                  <c:v>KRZYSZTOF PSIUK</c:v>
                </c:pt>
                <c:pt idx="34">
                  <c:v>KRZYSZTOF STEC</c:v>
                </c:pt>
                <c:pt idx="35">
                  <c:v>ŁUKASZ KORZENIEWSKI</c:v>
                </c:pt>
                <c:pt idx="36">
                  <c:v>MAGDALENA BUGAJSKA</c:v>
                </c:pt>
                <c:pt idx="37">
                  <c:v>MAGDALENA ROCKA</c:v>
                </c:pt>
                <c:pt idx="38">
                  <c:v>MAŁGORZATA TREJTOWICZ</c:v>
                </c:pt>
                <c:pt idx="39">
                  <c:v>MAREK ZWOLIŃSKI</c:v>
                </c:pt>
                <c:pt idx="40">
                  <c:v>MICHAŁ KĘDZIERA</c:v>
                </c:pt>
                <c:pt idx="41">
                  <c:v>MICHAŁ SAMOREK</c:v>
                </c:pt>
                <c:pt idx="42">
                  <c:v>MICHAŁ WITCZAK</c:v>
                </c:pt>
                <c:pt idx="43">
                  <c:v>MIESZKO MARSZALEC</c:v>
                </c:pt>
                <c:pt idx="44">
                  <c:v>MONIKA JANICKA</c:v>
                </c:pt>
                <c:pt idx="45">
                  <c:v>PAULINA HARASYM</c:v>
                </c:pt>
                <c:pt idx="46">
                  <c:v>PAULINA SIERACKA</c:v>
                </c:pt>
                <c:pt idx="47">
                  <c:v>PAWEŁ OSTRZYŻEK</c:v>
                </c:pt>
                <c:pt idx="48">
                  <c:v>PAWEŁ REWIG</c:v>
                </c:pt>
                <c:pt idx="49">
                  <c:v>PIOTR DZIEDZIC</c:v>
                </c:pt>
                <c:pt idx="50">
                  <c:v>PIOTR STASIAK</c:v>
                </c:pt>
                <c:pt idx="51">
                  <c:v>RADOSŁAW KWEC</c:v>
                </c:pt>
                <c:pt idx="52">
                  <c:v>ROBERT BURAKOWSKI</c:v>
                </c:pt>
                <c:pt idx="53">
                  <c:v>SANDRA DANKOWSKA</c:v>
                </c:pt>
                <c:pt idx="54">
                  <c:v>SYLWIA KUŚMIERZ</c:v>
                </c:pt>
                <c:pt idx="55">
                  <c:v>SYLWIA ŚLIWA</c:v>
                </c:pt>
                <c:pt idx="56">
                  <c:v>SYLWIA ZIELIŃSKA</c:v>
                </c:pt>
                <c:pt idx="57">
                  <c:v>TERESA SARGA</c:v>
                </c:pt>
                <c:pt idx="58">
                  <c:v>URSZULA GIERASIMOWICZ</c:v>
                </c:pt>
              </c:strCache>
            </c:strRef>
          </c:cat>
          <c:val>
            <c:numRef>
              <c:f>'2026'!$Q$4:$Q$62</c:f>
              <c:numCache>
                <c:formatCode>0</c:formatCode>
                <c:ptCount val="59"/>
                <c:pt idx="0">
                  <c:v>12</c:v>
                </c:pt>
                <c:pt idx="1">
                  <c:v>9</c:v>
                </c:pt>
                <c:pt idx="2">
                  <c:v>7</c:v>
                </c:pt>
                <c:pt idx="3">
                  <c:v>7</c:v>
                </c:pt>
                <c:pt idx="4">
                  <c:v>15</c:v>
                </c:pt>
                <c:pt idx="5">
                  <c:v>5</c:v>
                </c:pt>
                <c:pt idx="6">
                  <c:v>15</c:v>
                </c:pt>
                <c:pt idx="7">
                  <c:v>12</c:v>
                </c:pt>
                <c:pt idx="8">
                  <c:v>4</c:v>
                </c:pt>
                <c:pt idx="9">
                  <c:v>34</c:v>
                </c:pt>
                <c:pt idx="10">
                  <c:v>9</c:v>
                </c:pt>
                <c:pt idx="11">
                  <c:v>10</c:v>
                </c:pt>
                <c:pt idx="12">
                  <c:v>7</c:v>
                </c:pt>
                <c:pt idx="13">
                  <c:v>28</c:v>
                </c:pt>
                <c:pt idx="14">
                  <c:v>18</c:v>
                </c:pt>
                <c:pt idx="15">
                  <c:v>12</c:v>
                </c:pt>
                <c:pt idx="16">
                  <c:v>10</c:v>
                </c:pt>
                <c:pt idx="17">
                  <c:v>13</c:v>
                </c:pt>
                <c:pt idx="18">
                  <c:v>4</c:v>
                </c:pt>
                <c:pt idx="19">
                  <c:v>3</c:v>
                </c:pt>
                <c:pt idx="20">
                  <c:v>6</c:v>
                </c:pt>
                <c:pt idx="21">
                  <c:v>11</c:v>
                </c:pt>
                <c:pt idx="22">
                  <c:v>19</c:v>
                </c:pt>
                <c:pt idx="23">
                  <c:v>15</c:v>
                </c:pt>
                <c:pt idx="24">
                  <c:v>60</c:v>
                </c:pt>
                <c:pt idx="25">
                  <c:v>17</c:v>
                </c:pt>
                <c:pt idx="26">
                  <c:v>30</c:v>
                </c:pt>
                <c:pt idx="27">
                  <c:v>26</c:v>
                </c:pt>
                <c:pt idx="28">
                  <c:v>25</c:v>
                </c:pt>
                <c:pt idx="29">
                  <c:v>28</c:v>
                </c:pt>
                <c:pt idx="30">
                  <c:v>6</c:v>
                </c:pt>
                <c:pt idx="31">
                  <c:v>13</c:v>
                </c:pt>
                <c:pt idx="32">
                  <c:v>11</c:v>
                </c:pt>
                <c:pt idx="33">
                  <c:v>3</c:v>
                </c:pt>
                <c:pt idx="34">
                  <c:v>9</c:v>
                </c:pt>
                <c:pt idx="35">
                  <c:v>17</c:v>
                </c:pt>
                <c:pt idx="36">
                  <c:v>19</c:v>
                </c:pt>
                <c:pt idx="37">
                  <c:v>54</c:v>
                </c:pt>
                <c:pt idx="38">
                  <c:v>18</c:v>
                </c:pt>
                <c:pt idx="39">
                  <c:v>9</c:v>
                </c:pt>
                <c:pt idx="40">
                  <c:v>11</c:v>
                </c:pt>
                <c:pt idx="41">
                  <c:v>24</c:v>
                </c:pt>
                <c:pt idx="42">
                  <c:v>8</c:v>
                </c:pt>
                <c:pt idx="43">
                  <c:v>25</c:v>
                </c:pt>
                <c:pt idx="44">
                  <c:v>14</c:v>
                </c:pt>
                <c:pt idx="45">
                  <c:v>14</c:v>
                </c:pt>
                <c:pt idx="46">
                  <c:v>8</c:v>
                </c:pt>
                <c:pt idx="47">
                  <c:v>55</c:v>
                </c:pt>
                <c:pt idx="48">
                  <c:v>26</c:v>
                </c:pt>
                <c:pt idx="49">
                  <c:v>17</c:v>
                </c:pt>
                <c:pt idx="50">
                  <c:v>90</c:v>
                </c:pt>
                <c:pt idx="51">
                  <c:v>5</c:v>
                </c:pt>
                <c:pt idx="52">
                  <c:v>12</c:v>
                </c:pt>
                <c:pt idx="53">
                  <c:v>3</c:v>
                </c:pt>
                <c:pt idx="54">
                  <c:v>45</c:v>
                </c:pt>
                <c:pt idx="55">
                  <c:v>33</c:v>
                </c:pt>
                <c:pt idx="56">
                  <c:v>13</c:v>
                </c:pt>
                <c:pt idx="57">
                  <c:v>21</c:v>
                </c:pt>
                <c:pt idx="58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97-40E3-B70E-6CC10A5C76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1211743"/>
        <c:axId val="31213663"/>
      </c:barChart>
      <c:lineChart>
        <c:grouping val="standard"/>
        <c:varyColors val="0"/>
        <c:ser>
          <c:idx val="2"/>
          <c:order val="2"/>
          <c:tx>
            <c:strRef>
              <c:f>'2026'!$R$3</c:f>
              <c:strCache>
                <c:ptCount val="1"/>
                <c:pt idx="0">
                  <c:v>Average monthly number of KYC/AML requests in January-February 2025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'2026'!$O$4:$O$62</c:f>
              <c:strCache>
                <c:ptCount val="59"/>
                <c:pt idx="0">
                  <c:v>AGNIESZKA BAŁDOWSKA-DACZ</c:v>
                </c:pt>
                <c:pt idx="1">
                  <c:v>ALEKSANDER PODZEREK</c:v>
                </c:pt>
                <c:pt idx="2">
                  <c:v>ALEKSANDRA HAJDUK</c:v>
                </c:pt>
                <c:pt idx="3">
                  <c:v>ALEKSANDRA SZUMSKA</c:v>
                </c:pt>
                <c:pt idx="4">
                  <c:v>ANGELIKA CIESIELSKA</c:v>
                </c:pt>
                <c:pt idx="5">
                  <c:v>ANNA DĄBROWSKA</c:v>
                </c:pt>
                <c:pt idx="6">
                  <c:v>ANNA KOSOWSKA</c:v>
                </c:pt>
                <c:pt idx="7">
                  <c:v>ANNA MATUSZEWSKA</c:v>
                </c:pt>
                <c:pt idx="8">
                  <c:v>ARKADIUSZ DURASIEWICZ</c:v>
                </c:pt>
                <c:pt idx="9">
                  <c:v>BARBARA NASKRĘT</c:v>
                </c:pt>
                <c:pt idx="10">
                  <c:v>BARBARA TALKO</c:v>
                </c:pt>
                <c:pt idx="11">
                  <c:v>BARBARA WISNIEWSKA</c:v>
                </c:pt>
                <c:pt idx="12">
                  <c:v>BEATA JAWORSKA</c:v>
                </c:pt>
                <c:pt idx="13">
                  <c:v>BEATA MARCINIAK</c:v>
                </c:pt>
                <c:pt idx="14">
                  <c:v>BOGUSŁAW BANAŚ</c:v>
                </c:pt>
                <c:pt idx="15">
                  <c:v>BOŻENA ZAKRZEWSKA</c:v>
                </c:pt>
                <c:pt idx="16">
                  <c:v>DAMIAN KAMINSKI</c:v>
                </c:pt>
                <c:pt idx="17">
                  <c:v>DANUTA WINCŁAW</c:v>
                </c:pt>
                <c:pt idx="18">
                  <c:v>DOMINIK RADLICA</c:v>
                </c:pt>
                <c:pt idx="19">
                  <c:v>ELŻBIETA GAŁĄZKA</c:v>
                </c:pt>
                <c:pt idx="20">
                  <c:v>EWELINA PROKOP-JONAK</c:v>
                </c:pt>
                <c:pt idx="21">
                  <c:v>GRZEGORZ KLISOWSKI</c:v>
                </c:pt>
                <c:pt idx="22">
                  <c:v>HUBERT KRAWIEC</c:v>
                </c:pt>
                <c:pt idx="23">
                  <c:v>INGA GRYCZEWSKA</c:v>
                </c:pt>
                <c:pt idx="24">
                  <c:v>IRENEUSZ MIETEŃ</c:v>
                </c:pt>
                <c:pt idx="25">
                  <c:v>JADWIGA ADAMEK</c:v>
                </c:pt>
                <c:pt idx="26">
                  <c:v>JAKUB BAWÓŁ</c:v>
                </c:pt>
                <c:pt idx="27">
                  <c:v>JAN PAWŁOWSKI</c:v>
                </c:pt>
                <c:pt idx="28">
                  <c:v>KACPER STOJEWSKI</c:v>
                </c:pt>
                <c:pt idx="29">
                  <c:v>KAMIL KAMIŃSKI</c:v>
                </c:pt>
                <c:pt idx="30">
                  <c:v>KAMILA CHARCZUK</c:v>
                </c:pt>
                <c:pt idx="31">
                  <c:v>KATARZYNA STABLEWSKA</c:v>
                </c:pt>
                <c:pt idx="32">
                  <c:v>KLAUDIA JAWORSKA</c:v>
                </c:pt>
                <c:pt idx="33">
                  <c:v>KRZYSZTOF PSIUK</c:v>
                </c:pt>
                <c:pt idx="34">
                  <c:v>KRZYSZTOF STEC</c:v>
                </c:pt>
                <c:pt idx="35">
                  <c:v>ŁUKASZ KORZENIEWSKI</c:v>
                </c:pt>
                <c:pt idx="36">
                  <c:v>MAGDALENA BUGAJSKA</c:v>
                </c:pt>
                <c:pt idx="37">
                  <c:v>MAGDALENA ROCKA</c:v>
                </c:pt>
                <c:pt idx="38">
                  <c:v>MAŁGORZATA TREJTOWICZ</c:v>
                </c:pt>
                <c:pt idx="39">
                  <c:v>MAREK ZWOLIŃSKI</c:v>
                </c:pt>
                <c:pt idx="40">
                  <c:v>MICHAŁ KĘDZIERA</c:v>
                </c:pt>
                <c:pt idx="41">
                  <c:v>MICHAŁ SAMOREK</c:v>
                </c:pt>
                <c:pt idx="42">
                  <c:v>MICHAŁ WITCZAK</c:v>
                </c:pt>
                <c:pt idx="43">
                  <c:v>MIESZKO MARSZALEC</c:v>
                </c:pt>
                <c:pt idx="44">
                  <c:v>MONIKA JANICKA</c:v>
                </c:pt>
                <c:pt idx="45">
                  <c:v>PAULINA HARASYM</c:v>
                </c:pt>
                <c:pt idx="46">
                  <c:v>PAULINA SIERACKA</c:v>
                </c:pt>
                <c:pt idx="47">
                  <c:v>PAWEŁ OSTRZYŻEK</c:v>
                </c:pt>
                <c:pt idx="48">
                  <c:v>PAWEŁ REWIG</c:v>
                </c:pt>
                <c:pt idx="49">
                  <c:v>PIOTR DZIEDZIC</c:v>
                </c:pt>
                <c:pt idx="50">
                  <c:v>PIOTR STASIAK</c:v>
                </c:pt>
                <c:pt idx="51">
                  <c:v>RADOSŁAW KWEC</c:v>
                </c:pt>
                <c:pt idx="52">
                  <c:v>ROBERT BURAKOWSKI</c:v>
                </c:pt>
                <c:pt idx="53">
                  <c:v>SANDRA DANKOWSKA</c:v>
                </c:pt>
                <c:pt idx="54">
                  <c:v>SYLWIA KUŚMIERZ</c:v>
                </c:pt>
                <c:pt idx="55">
                  <c:v>SYLWIA ŚLIWA</c:v>
                </c:pt>
                <c:pt idx="56">
                  <c:v>SYLWIA ZIELIŃSKA</c:v>
                </c:pt>
                <c:pt idx="57">
                  <c:v>TERESA SARGA</c:v>
                </c:pt>
                <c:pt idx="58">
                  <c:v>URSZULA GIERASIMOWICZ</c:v>
                </c:pt>
              </c:strCache>
            </c:strRef>
          </c:cat>
          <c:val>
            <c:numRef>
              <c:f>'2026'!$R$4:$R$62</c:f>
              <c:numCache>
                <c:formatCode>General</c:formatCode>
                <c:ptCount val="59"/>
                <c:pt idx="0">
                  <c:v>4.1500000000000004</c:v>
                </c:pt>
                <c:pt idx="1">
                  <c:v>4.1500000000000004</c:v>
                </c:pt>
                <c:pt idx="2">
                  <c:v>4.1500000000000004</c:v>
                </c:pt>
                <c:pt idx="3">
                  <c:v>4.1500000000000004</c:v>
                </c:pt>
                <c:pt idx="4">
                  <c:v>4.1500000000000004</c:v>
                </c:pt>
                <c:pt idx="5">
                  <c:v>4.1500000000000004</c:v>
                </c:pt>
                <c:pt idx="6">
                  <c:v>4.1500000000000004</c:v>
                </c:pt>
                <c:pt idx="7">
                  <c:v>4.1500000000000004</c:v>
                </c:pt>
                <c:pt idx="8">
                  <c:v>4.1500000000000004</c:v>
                </c:pt>
                <c:pt idx="9">
                  <c:v>4.1500000000000004</c:v>
                </c:pt>
                <c:pt idx="10">
                  <c:v>4.1500000000000004</c:v>
                </c:pt>
                <c:pt idx="11">
                  <c:v>4.1500000000000004</c:v>
                </c:pt>
                <c:pt idx="12">
                  <c:v>4.1500000000000004</c:v>
                </c:pt>
                <c:pt idx="13">
                  <c:v>4.1500000000000004</c:v>
                </c:pt>
                <c:pt idx="14">
                  <c:v>4.1500000000000004</c:v>
                </c:pt>
                <c:pt idx="15">
                  <c:v>4.1500000000000004</c:v>
                </c:pt>
                <c:pt idx="16">
                  <c:v>4.1500000000000004</c:v>
                </c:pt>
                <c:pt idx="17">
                  <c:v>4.1500000000000004</c:v>
                </c:pt>
                <c:pt idx="18">
                  <c:v>4.1500000000000004</c:v>
                </c:pt>
                <c:pt idx="19">
                  <c:v>4.1500000000000004</c:v>
                </c:pt>
                <c:pt idx="20">
                  <c:v>4.1500000000000004</c:v>
                </c:pt>
                <c:pt idx="21">
                  <c:v>4.1500000000000004</c:v>
                </c:pt>
                <c:pt idx="22">
                  <c:v>4.1500000000000004</c:v>
                </c:pt>
                <c:pt idx="23">
                  <c:v>4.1500000000000004</c:v>
                </c:pt>
                <c:pt idx="24">
                  <c:v>4.1500000000000004</c:v>
                </c:pt>
                <c:pt idx="25">
                  <c:v>4.1500000000000004</c:v>
                </c:pt>
                <c:pt idx="26">
                  <c:v>4.1500000000000004</c:v>
                </c:pt>
                <c:pt idx="27">
                  <c:v>4.1500000000000004</c:v>
                </c:pt>
                <c:pt idx="28">
                  <c:v>4.1500000000000004</c:v>
                </c:pt>
                <c:pt idx="29">
                  <c:v>4.1500000000000004</c:v>
                </c:pt>
                <c:pt idx="30">
                  <c:v>4.1500000000000004</c:v>
                </c:pt>
                <c:pt idx="31">
                  <c:v>4.1500000000000004</c:v>
                </c:pt>
                <c:pt idx="32">
                  <c:v>4.1500000000000004</c:v>
                </c:pt>
                <c:pt idx="33">
                  <c:v>4.1500000000000004</c:v>
                </c:pt>
                <c:pt idx="34">
                  <c:v>4.1500000000000004</c:v>
                </c:pt>
                <c:pt idx="35">
                  <c:v>4.1500000000000004</c:v>
                </c:pt>
                <c:pt idx="36">
                  <c:v>4.1500000000000004</c:v>
                </c:pt>
                <c:pt idx="37">
                  <c:v>4.1500000000000004</c:v>
                </c:pt>
                <c:pt idx="38">
                  <c:v>4.1500000000000004</c:v>
                </c:pt>
                <c:pt idx="39">
                  <c:v>4.1500000000000004</c:v>
                </c:pt>
                <c:pt idx="40">
                  <c:v>4.1500000000000004</c:v>
                </c:pt>
                <c:pt idx="41">
                  <c:v>4.1500000000000004</c:v>
                </c:pt>
                <c:pt idx="42">
                  <c:v>4.1500000000000004</c:v>
                </c:pt>
                <c:pt idx="43">
                  <c:v>4.1500000000000004</c:v>
                </c:pt>
                <c:pt idx="44">
                  <c:v>4.1500000000000004</c:v>
                </c:pt>
                <c:pt idx="45">
                  <c:v>4.1500000000000004</c:v>
                </c:pt>
                <c:pt idx="46">
                  <c:v>4.1500000000000004</c:v>
                </c:pt>
                <c:pt idx="47">
                  <c:v>4.1500000000000004</c:v>
                </c:pt>
                <c:pt idx="48">
                  <c:v>4.1500000000000004</c:v>
                </c:pt>
                <c:pt idx="49">
                  <c:v>4.1500000000000004</c:v>
                </c:pt>
                <c:pt idx="50">
                  <c:v>4.1500000000000004</c:v>
                </c:pt>
                <c:pt idx="51">
                  <c:v>4.1500000000000004</c:v>
                </c:pt>
                <c:pt idx="52">
                  <c:v>4.1500000000000004</c:v>
                </c:pt>
                <c:pt idx="53">
                  <c:v>4.1500000000000004</c:v>
                </c:pt>
                <c:pt idx="54">
                  <c:v>4.1500000000000004</c:v>
                </c:pt>
                <c:pt idx="55">
                  <c:v>4.1500000000000004</c:v>
                </c:pt>
                <c:pt idx="56">
                  <c:v>4.1500000000000004</c:v>
                </c:pt>
                <c:pt idx="57">
                  <c:v>4.1500000000000004</c:v>
                </c:pt>
                <c:pt idx="58">
                  <c:v>4.15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997-40E3-B70E-6CC10A5C76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211743"/>
        <c:axId val="31213663"/>
      </c:lineChart>
      <c:catAx>
        <c:axId val="312117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31213663"/>
        <c:crosses val="autoZero"/>
        <c:auto val="1"/>
        <c:lblAlgn val="ctr"/>
        <c:lblOffset val="100"/>
        <c:noMultiLvlLbl val="0"/>
      </c:catAx>
      <c:valAx>
        <c:axId val="312136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312117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B0856F-EEB0-4FF9-A0D9-57523069C773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4D106D84-0CD3-4A39-AAB6-E89A4AAEC34E}">
      <dgm:prSet phldrT="[Tekst]" custT="1"/>
      <dgm:spPr/>
      <dgm:t>
        <a:bodyPr/>
        <a:lstStyle/>
        <a:p>
          <a:r>
            <a:rPr lang="pl-PL" sz="1400" b="1" dirty="0"/>
            <a:t>16 716</a:t>
          </a:r>
        </a:p>
        <a:p>
          <a:r>
            <a:rPr lang="pl-PL" sz="1400" dirty="0"/>
            <a:t>SME/AGRO revision</a:t>
          </a:r>
        </a:p>
      </dgm:t>
    </dgm:pt>
    <dgm:pt modelId="{F8B5D523-4B3B-4CE1-84CB-49463C83CD21}" type="parTrans" cxnId="{15378004-104A-4486-BE08-BCCB2D318594}">
      <dgm:prSet/>
      <dgm:spPr/>
      <dgm:t>
        <a:bodyPr/>
        <a:lstStyle/>
        <a:p>
          <a:endParaRPr lang="pl-PL" sz="1200"/>
        </a:p>
      </dgm:t>
    </dgm:pt>
    <dgm:pt modelId="{CE724BF4-3BA9-45FA-B07C-983A1174510D}" type="sibTrans" cxnId="{15378004-104A-4486-BE08-BCCB2D318594}">
      <dgm:prSet/>
      <dgm:spPr/>
      <dgm:t>
        <a:bodyPr/>
        <a:lstStyle/>
        <a:p>
          <a:endParaRPr lang="pl-PL" sz="1200"/>
        </a:p>
      </dgm:t>
    </dgm:pt>
    <dgm:pt modelId="{6688859E-EB7F-4BF7-9887-029FC6AF3497}">
      <dgm:prSet phldrT="[Tekst]" custT="1"/>
      <dgm:spPr/>
      <dgm:t>
        <a:bodyPr/>
        <a:lstStyle/>
        <a:p>
          <a:r>
            <a:rPr lang="pl-PL" sz="1400" b="1" dirty="0"/>
            <a:t>11 942</a:t>
          </a:r>
        </a:p>
        <a:p>
          <a:r>
            <a:rPr lang="pl-PL" sz="1400" dirty="0"/>
            <a:t>JDG/RI</a:t>
          </a:r>
        </a:p>
      </dgm:t>
    </dgm:pt>
    <dgm:pt modelId="{C9B8A42B-B093-4FE3-8CFD-B910839AD379}" type="parTrans" cxnId="{DAE7C2A2-8E1A-4F20-A5AF-42707A79166E}">
      <dgm:prSet/>
      <dgm:spPr/>
      <dgm:t>
        <a:bodyPr/>
        <a:lstStyle/>
        <a:p>
          <a:endParaRPr lang="pl-PL" sz="1200"/>
        </a:p>
      </dgm:t>
    </dgm:pt>
    <dgm:pt modelId="{06DAEE10-89AB-470D-B128-CE95A4A981AA}" type="sibTrans" cxnId="{DAE7C2A2-8E1A-4F20-A5AF-42707A79166E}">
      <dgm:prSet/>
      <dgm:spPr/>
      <dgm:t>
        <a:bodyPr/>
        <a:lstStyle/>
        <a:p>
          <a:endParaRPr lang="pl-PL" sz="1200"/>
        </a:p>
      </dgm:t>
    </dgm:pt>
    <dgm:pt modelId="{DAC19C66-E30C-4584-83FE-97AD61D05B5A}">
      <dgm:prSet phldrT="[Tekst]" custT="1"/>
      <dgm:spPr/>
      <dgm:t>
        <a:bodyPr/>
        <a:lstStyle/>
        <a:p>
          <a:r>
            <a:rPr lang="pl-PL" sz="1400" b="1" dirty="0"/>
            <a:t>5 148</a:t>
          </a:r>
        </a:p>
        <a:p>
          <a:r>
            <a:rPr lang="pl-PL" sz="1400" dirty="0"/>
            <a:t>Retail network</a:t>
          </a:r>
        </a:p>
      </dgm:t>
    </dgm:pt>
    <dgm:pt modelId="{22B6960D-4909-413C-872A-283B66508C79}" type="parTrans" cxnId="{8AB77AF8-E7BF-4A72-917C-938004B3DA11}">
      <dgm:prSet/>
      <dgm:spPr/>
      <dgm:t>
        <a:bodyPr/>
        <a:lstStyle/>
        <a:p>
          <a:endParaRPr lang="pl-PL" sz="1200"/>
        </a:p>
      </dgm:t>
    </dgm:pt>
    <dgm:pt modelId="{C3EFB8CA-AE9C-4082-BBD8-19281568A24C}" type="sibTrans" cxnId="{8AB77AF8-E7BF-4A72-917C-938004B3DA11}">
      <dgm:prSet/>
      <dgm:spPr/>
      <dgm:t>
        <a:bodyPr/>
        <a:lstStyle/>
        <a:p>
          <a:endParaRPr lang="pl-PL" sz="1200"/>
        </a:p>
      </dgm:t>
    </dgm:pt>
    <dgm:pt modelId="{64007797-25D2-4A9B-9135-6EBD595A6048}">
      <dgm:prSet phldrT="[Tekst]" custT="1"/>
      <dgm:spPr/>
      <dgm:t>
        <a:bodyPr/>
        <a:lstStyle/>
        <a:p>
          <a:r>
            <a:rPr lang="pl-PL" sz="12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6 794</a:t>
          </a:r>
        </a:p>
        <a:p>
          <a:r>
            <a:rPr lang="pl-PL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SME/AGRO network</a:t>
          </a:r>
        </a:p>
      </dgm:t>
    </dgm:pt>
    <dgm:pt modelId="{9C5CFE3F-0884-49CE-8268-8A8D7BC9119C}" type="parTrans" cxnId="{E6BBBF6B-C34C-4BC9-ABB8-0128571A8136}">
      <dgm:prSet/>
      <dgm:spPr/>
      <dgm:t>
        <a:bodyPr/>
        <a:lstStyle/>
        <a:p>
          <a:endParaRPr lang="pl-PL" sz="1200"/>
        </a:p>
      </dgm:t>
    </dgm:pt>
    <dgm:pt modelId="{5E17247C-161F-4132-B512-AB4F2BE7F0C9}" type="sibTrans" cxnId="{E6BBBF6B-C34C-4BC9-ABB8-0128571A8136}">
      <dgm:prSet/>
      <dgm:spPr/>
      <dgm:t>
        <a:bodyPr/>
        <a:lstStyle/>
        <a:p>
          <a:endParaRPr lang="pl-PL" sz="1200"/>
        </a:p>
      </dgm:t>
    </dgm:pt>
    <dgm:pt modelId="{AEC8E162-B60D-46A1-B228-DD1DCC2081DA}">
      <dgm:prSet phldrT="[Tekst]" custT="1"/>
      <dgm:spPr/>
      <dgm:t>
        <a:bodyPr/>
        <a:lstStyle/>
        <a:p>
          <a:r>
            <a:rPr lang="pl-PL" sz="1400" b="1" dirty="0">
              <a:solidFill>
                <a:schemeClr val="accent6">
                  <a:lumMod val="40000"/>
                  <a:lumOff val="6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4 774</a:t>
          </a:r>
        </a:p>
        <a:p>
          <a:r>
            <a:rPr lang="pl-PL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ompanies and other forms</a:t>
          </a:r>
        </a:p>
      </dgm:t>
    </dgm:pt>
    <dgm:pt modelId="{484F5001-AE87-4287-B15C-44DCB92FBB8C}" type="parTrans" cxnId="{E5815ED8-5DC7-46CA-8720-864FFCD8A01C}">
      <dgm:prSet/>
      <dgm:spPr/>
      <dgm:t>
        <a:bodyPr/>
        <a:lstStyle/>
        <a:p>
          <a:endParaRPr lang="pl-PL" sz="1200"/>
        </a:p>
      </dgm:t>
    </dgm:pt>
    <dgm:pt modelId="{5EEA003E-9E58-4B1A-B053-0682D56F0FAE}" type="sibTrans" cxnId="{E5815ED8-5DC7-46CA-8720-864FFCD8A01C}">
      <dgm:prSet/>
      <dgm:spPr/>
      <dgm:t>
        <a:bodyPr/>
        <a:lstStyle/>
        <a:p>
          <a:endParaRPr lang="pl-PL" sz="1200"/>
        </a:p>
      </dgm:t>
    </dgm:pt>
    <dgm:pt modelId="{BFCE4864-33E8-4C4D-A976-4A1DBA7044C8}">
      <dgm:prSet custT="1"/>
      <dgm:spPr/>
      <dgm:t>
        <a:bodyPr/>
        <a:lstStyle/>
        <a:p>
          <a:r>
            <a:rPr lang="pl-PL" sz="1000" b="1" dirty="0">
              <a:solidFill>
                <a:schemeClr val="accent6">
                  <a:lumMod val="40000"/>
                  <a:lumOff val="60000"/>
                </a:schemeClr>
              </a:solidFill>
            </a:rPr>
            <a:t>1 059</a:t>
          </a:r>
        </a:p>
        <a:p>
          <a:r>
            <a:rPr lang="pl-PL" sz="1000" dirty="0"/>
            <a:t>JDG with account rep. - manual revision required</a:t>
          </a:r>
        </a:p>
      </dgm:t>
    </dgm:pt>
    <dgm:pt modelId="{0ADDAF61-FF47-4450-AC13-F0B621B4F3F2}" type="parTrans" cxnId="{4CC665E2-462D-4222-9938-584AF819A983}">
      <dgm:prSet/>
      <dgm:spPr/>
      <dgm:t>
        <a:bodyPr/>
        <a:lstStyle/>
        <a:p>
          <a:endParaRPr lang="pl-PL" sz="1200"/>
        </a:p>
      </dgm:t>
    </dgm:pt>
    <dgm:pt modelId="{265EC70F-34D6-4597-901C-2C6524C0D0B5}" type="sibTrans" cxnId="{4CC665E2-462D-4222-9938-584AF819A983}">
      <dgm:prSet/>
      <dgm:spPr/>
      <dgm:t>
        <a:bodyPr/>
        <a:lstStyle/>
        <a:p>
          <a:endParaRPr lang="pl-PL" sz="1200"/>
        </a:p>
      </dgm:t>
    </dgm:pt>
    <dgm:pt modelId="{58FFBEA5-39A0-4B38-BC7D-836EB16902C2}">
      <dgm:prSet custT="1"/>
      <dgm:spPr/>
      <dgm:t>
        <a:bodyPr/>
        <a:lstStyle/>
        <a:p>
          <a:r>
            <a:rPr lang="pl-PL" sz="1000" b="1" dirty="0">
              <a:solidFill>
                <a:schemeClr val="bg2">
                  <a:lumMod val="60000"/>
                  <a:lumOff val="40000"/>
                </a:schemeClr>
              </a:solidFill>
            </a:rPr>
            <a:t>4 089</a:t>
          </a:r>
        </a:p>
        <a:p>
          <a:r>
            <a:rPr lang="pl-PL" sz="1000" dirty="0"/>
            <a:t>JDG w/o account rep. - </a:t>
          </a:r>
          <a:r>
            <a:rPr lang="pl-PL" sz="1000" dirty="0" err="1"/>
            <a:t>remote</a:t>
          </a:r>
          <a:r>
            <a:rPr lang="pl-PL" sz="1000" dirty="0"/>
            <a:t> revision in </a:t>
          </a:r>
          <a:r>
            <a:rPr lang="pl-PL" sz="1000" dirty="0" err="1"/>
            <a:t>eBank</a:t>
          </a:r>
          <a:r>
            <a:rPr lang="pl-PL" sz="1000" dirty="0"/>
            <a:t> </a:t>
          </a:r>
        </a:p>
      </dgm:t>
    </dgm:pt>
    <dgm:pt modelId="{083CC6DC-D5AA-4B19-A54E-C89C022F6233}" type="parTrans" cxnId="{A38C8A27-AB5E-4DF8-82C6-1E138BBD2BF5}">
      <dgm:prSet/>
      <dgm:spPr/>
      <dgm:t>
        <a:bodyPr/>
        <a:lstStyle/>
        <a:p>
          <a:endParaRPr lang="pl-PL" sz="1200"/>
        </a:p>
      </dgm:t>
    </dgm:pt>
    <dgm:pt modelId="{D7E2A7CD-514D-4322-BBCA-69C44A354A2F}" type="sibTrans" cxnId="{A38C8A27-AB5E-4DF8-82C6-1E138BBD2BF5}">
      <dgm:prSet/>
      <dgm:spPr/>
      <dgm:t>
        <a:bodyPr/>
        <a:lstStyle/>
        <a:p>
          <a:endParaRPr lang="pl-PL" sz="1200"/>
        </a:p>
      </dgm:t>
    </dgm:pt>
    <dgm:pt modelId="{82BB81AF-4E28-4EB3-92D6-F903767FCF6C}">
      <dgm:prSet custT="1"/>
      <dgm:spPr/>
      <dgm:t>
        <a:bodyPr/>
        <a:lstStyle/>
        <a:p>
          <a:r>
            <a:rPr lang="pl-PL" sz="1200" b="1" dirty="0">
              <a:solidFill>
                <a:schemeClr val="accent6">
                  <a:lumMod val="40000"/>
                  <a:lumOff val="60000"/>
                </a:schemeClr>
              </a:solidFill>
            </a:rPr>
            <a:t>1 831</a:t>
          </a:r>
        </a:p>
        <a:p>
          <a:r>
            <a:rPr lang="pl-PL" sz="900" dirty="0"/>
            <a:t>JDG/RI with account rep. - manual revision required</a:t>
          </a:r>
        </a:p>
      </dgm:t>
    </dgm:pt>
    <dgm:pt modelId="{3468F776-41E3-4B4A-89A7-F74403B47944}" type="parTrans" cxnId="{99BBD0D8-1B85-4644-B222-6DDCE17AC8C1}">
      <dgm:prSet/>
      <dgm:spPr/>
      <dgm:t>
        <a:bodyPr/>
        <a:lstStyle/>
        <a:p>
          <a:endParaRPr lang="pl-PL" sz="1200"/>
        </a:p>
      </dgm:t>
    </dgm:pt>
    <dgm:pt modelId="{7DE9BC56-EA5F-4FA2-868B-2888662B5F2A}" type="sibTrans" cxnId="{99BBD0D8-1B85-4644-B222-6DDCE17AC8C1}">
      <dgm:prSet/>
      <dgm:spPr/>
      <dgm:t>
        <a:bodyPr/>
        <a:lstStyle/>
        <a:p>
          <a:endParaRPr lang="pl-PL" sz="1200"/>
        </a:p>
      </dgm:t>
    </dgm:pt>
    <dgm:pt modelId="{6FB1075E-45DC-43B5-BB1A-34B04B2E9AA0}">
      <dgm:prSet custT="1"/>
      <dgm:spPr/>
      <dgm:t>
        <a:bodyPr/>
        <a:lstStyle/>
        <a:p>
          <a:r>
            <a:rPr lang="pl-PL" sz="1200" b="1" dirty="0">
              <a:solidFill>
                <a:schemeClr val="bg2">
                  <a:lumMod val="60000"/>
                  <a:lumOff val="40000"/>
                </a:schemeClr>
              </a:solidFill>
            </a:rPr>
            <a:t>4 963</a:t>
          </a:r>
        </a:p>
        <a:p>
          <a:r>
            <a:rPr lang="pl-PL" sz="900" dirty="0"/>
            <a:t>JDG w/o account rep. - </a:t>
          </a:r>
          <a:r>
            <a:rPr lang="pl-PL" sz="900" dirty="0" err="1"/>
            <a:t>remote</a:t>
          </a:r>
          <a:r>
            <a:rPr lang="pl-PL" sz="900" dirty="0"/>
            <a:t> revision in </a:t>
          </a:r>
          <a:r>
            <a:rPr lang="pl-PL" sz="900" dirty="0" err="1"/>
            <a:t>eBank</a:t>
          </a:r>
          <a:r>
            <a:rPr lang="pl-PL" sz="900" dirty="0"/>
            <a:t> </a:t>
          </a:r>
        </a:p>
      </dgm:t>
    </dgm:pt>
    <dgm:pt modelId="{FDBE5553-0F67-481F-97A3-564781AF2EBA}" type="parTrans" cxnId="{2CA0A4EC-031A-48AA-8EE3-F2A94234C124}">
      <dgm:prSet/>
      <dgm:spPr/>
      <dgm:t>
        <a:bodyPr/>
        <a:lstStyle/>
        <a:p>
          <a:endParaRPr lang="pl-PL" sz="1200"/>
        </a:p>
      </dgm:t>
    </dgm:pt>
    <dgm:pt modelId="{6EC34FE3-F350-4629-AF7E-64837BA8A2BA}" type="sibTrans" cxnId="{2CA0A4EC-031A-48AA-8EE3-F2A94234C124}">
      <dgm:prSet/>
      <dgm:spPr/>
      <dgm:t>
        <a:bodyPr/>
        <a:lstStyle/>
        <a:p>
          <a:endParaRPr lang="pl-PL" sz="1200"/>
        </a:p>
      </dgm:t>
    </dgm:pt>
    <dgm:pt modelId="{CE68FCDE-4095-49A3-A8A2-59DB02C65E18}">
      <dgm:prSet custT="1"/>
      <dgm:spPr/>
      <dgm:t>
        <a:bodyPr/>
        <a:lstStyle/>
        <a:p>
          <a:r>
            <a:rPr lang="pl-PL" sz="1000" b="1" dirty="0">
              <a:solidFill>
                <a:schemeClr val="accent6">
                  <a:lumMod val="40000"/>
                  <a:lumOff val="60000"/>
                </a:schemeClr>
              </a:solidFill>
            </a:rPr>
            <a:t>1 300</a:t>
          </a:r>
        </a:p>
        <a:p>
          <a:r>
            <a:rPr lang="pl-PL" sz="1000" dirty="0"/>
            <a:t>TOP 20 NBI per DKB</a:t>
          </a:r>
        </a:p>
        <a:p>
          <a:r>
            <a:rPr lang="pl-PL" sz="1000" dirty="0"/>
            <a:t>- manual revision required</a:t>
          </a:r>
        </a:p>
      </dgm:t>
    </dgm:pt>
    <dgm:pt modelId="{C16F8D7E-C529-4AD7-BE46-9CD0EF70F335}" type="parTrans" cxnId="{AA636CAE-342E-4614-80B9-1692096AB3C2}">
      <dgm:prSet/>
      <dgm:spPr/>
      <dgm:t>
        <a:bodyPr/>
        <a:lstStyle/>
        <a:p>
          <a:endParaRPr lang="pl-PL" sz="1200"/>
        </a:p>
      </dgm:t>
    </dgm:pt>
    <dgm:pt modelId="{1D121078-FA1B-4203-BA10-20AC23D06FA4}" type="sibTrans" cxnId="{AA636CAE-342E-4614-80B9-1692096AB3C2}">
      <dgm:prSet/>
      <dgm:spPr/>
      <dgm:t>
        <a:bodyPr/>
        <a:lstStyle/>
        <a:p>
          <a:endParaRPr lang="pl-PL" sz="1200"/>
        </a:p>
      </dgm:t>
    </dgm:pt>
    <dgm:pt modelId="{6B1A28FB-EDCF-425A-9E45-1309B4DBFF0B}">
      <dgm:prSet custT="1"/>
      <dgm:spPr/>
      <dgm:t>
        <a:bodyPr/>
        <a:lstStyle/>
        <a:p>
          <a:r>
            <a:rPr lang="pl-PL" sz="1000" b="1" dirty="0">
              <a:solidFill>
                <a:schemeClr val="accent6">
                  <a:lumMod val="40000"/>
                  <a:lumOff val="60000"/>
                </a:schemeClr>
              </a:solidFill>
            </a:rPr>
            <a:t>2 424</a:t>
          </a:r>
        </a:p>
        <a:p>
          <a:r>
            <a:rPr lang="pl-PL" sz="600" dirty="0"/>
            <a:t>E&amp;Y</a:t>
          </a:r>
        </a:p>
        <a:p>
          <a:r>
            <a:rPr lang="pl-PL" sz="600" dirty="0"/>
            <a:t>(cost …)</a:t>
          </a:r>
        </a:p>
      </dgm:t>
    </dgm:pt>
    <dgm:pt modelId="{B6760638-BB7E-4554-A9B8-FCC1ED90070C}" type="parTrans" cxnId="{CE00D731-12CA-4090-8CE5-0FB76750EAC1}">
      <dgm:prSet/>
      <dgm:spPr/>
      <dgm:t>
        <a:bodyPr/>
        <a:lstStyle/>
        <a:p>
          <a:endParaRPr lang="pl-PL" sz="1200"/>
        </a:p>
      </dgm:t>
    </dgm:pt>
    <dgm:pt modelId="{62A060A1-AEFD-4B91-B3F5-C5B533F3EAF4}" type="sibTrans" cxnId="{CE00D731-12CA-4090-8CE5-0FB76750EAC1}">
      <dgm:prSet/>
      <dgm:spPr/>
      <dgm:t>
        <a:bodyPr/>
        <a:lstStyle/>
        <a:p>
          <a:endParaRPr lang="pl-PL" sz="1200"/>
        </a:p>
      </dgm:t>
    </dgm:pt>
    <dgm:pt modelId="{A336FC49-2E28-45C8-99F7-C33FD72FDACB}">
      <dgm:prSet custT="1"/>
      <dgm:spPr/>
      <dgm:t>
        <a:bodyPr/>
        <a:lstStyle/>
        <a:p>
          <a:r>
            <a:rPr lang="pl-PL" sz="1000" b="1" dirty="0">
              <a:solidFill>
                <a:schemeClr val="accent6">
                  <a:lumMod val="40000"/>
                  <a:lumOff val="60000"/>
                </a:schemeClr>
              </a:solidFill>
            </a:rPr>
            <a:t>1 050</a:t>
          </a:r>
        </a:p>
        <a:p>
          <a:r>
            <a:rPr lang="en-US" sz="600" dirty="0"/>
            <a:t>clients with a bailiff's seizure of their account, inactive more than 1 years (only communication without active actions of the advisor)</a:t>
          </a:r>
          <a:endParaRPr lang="pl-PL" sz="600" dirty="0"/>
        </a:p>
      </dgm:t>
    </dgm:pt>
    <dgm:pt modelId="{F66946AF-3A73-4B96-BE2A-A8CFBA9E5019}" type="parTrans" cxnId="{B2643384-143D-400D-8DA8-61DFFC95F6F3}">
      <dgm:prSet/>
      <dgm:spPr/>
      <dgm:t>
        <a:bodyPr/>
        <a:lstStyle/>
        <a:p>
          <a:endParaRPr lang="pl-PL" sz="1200"/>
        </a:p>
      </dgm:t>
    </dgm:pt>
    <dgm:pt modelId="{1A9F756D-29E2-4914-BFB3-D2A9A68A8323}" type="sibTrans" cxnId="{B2643384-143D-400D-8DA8-61DFFC95F6F3}">
      <dgm:prSet/>
      <dgm:spPr/>
      <dgm:t>
        <a:bodyPr/>
        <a:lstStyle/>
        <a:p>
          <a:endParaRPr lang="pl-PL" sz="1200"/>
        </a:p>
      </dgm:t>
    </dgm:pt>
    <dgm:pt modelId="{724835E1-401D-4031-9347-4AA50ACC133F}" type="pres">
      <dgm:prSet presAssocID="{BEB0856F-EEB0-4FF9-A0D9-57523069C77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2E071385-76C2-41F7-8636-CDF6A7397EBF}" type="pres">
      <dgm:prSet presAssocID="{4D106D84-0CD3-4A39-AAB6-E89A4AAEC34E}" presName="vertOne" presStyleCnt="0"/>
      <dgm:spPr/>
    </dgm:pt>
    <dgm:pt modelId="{40741090-657C-498A-B5BA-ECA520E17FFB}" type="pres">
      <dgm:prSet presAssocID="{4D106D84-0CD3-4A39-AAB6-E89A4AAEC34E}" presName="txOne" presStyleLbl="node0" presStyleIdx="0" presStyleCnt="1">
        <dgm:presLayoutVars>
          <dgm:chPref val="3"/>
        </dgm:presLayoutVars>
      </dgm:prSet>
      <dgm:spPr/>
    </dgm:pt>
    <dgm:pt modelId="{CBAD795F-D0F7-45DE-9731-0AD70689DAC5}" type="pres">
      <dgm:prSet presAssocID="{4D106D84-0CD3-4A39-AAB6-E89A4AAEC34E}" presName="parTransOne" presStyleCnt="0"/>
      <dgm:spPr/>
    </dgm:pt>
    <dgm:pt modelId="{94B82718-40D1-491B-B152-4595E9EB1846}" type="pres">
      <dgm:prSet presAssocID="{4D106D84-0CD3-4A39-AAB6-E89A4AAEC34E}" presName="horzOne" presStyleCnt="0"/>
      <dgm:spPr/>
    </dgm:pt>
    <dgm:pt modelId="{EA52085D-4EC3-414D-9007-68CC2DFC086D}" type="pres">
      <dgm:prSet presAssocID="{6688859E-EB7F-4BF7-9887-029FC6AF3497}" presName="vertTwo" presStyleCnt="0"/>
      <dgm:spPr/>
    </dgm:pt>
    <dgm:pt modelId="{352E19D0-2321-4F45-AAC3-46A7DB1E9B3A}" type="pres">
      <dgm:prSet presAssocID="{6688859E-EB7F-4BF7-9887-029FC6AF3497}" presName="txTwo" presStyleLbl="node2" presStyleIdx="0" presStyleCnt="2">
        <dgm:presLayoutVars>
          <dgm:chPref val="3"/>
        </dgm:presLayoutVars>
      </dgm:prSet>
      <dgm:spPr/>
    </dgm:pt>
    <dgm:pt modelId="{22A3CDFF-9253-464A-B472-BC4213B4B3A1}" type="pres">
      <dgm:prSet presAssocID="{6688859E-EB7F-4BF7-9887-029FC6AF3497}" presName="parTransTwo" presStyleCnt="0"/>
      <dgm:spPr/>
    </dgm:pt>
    <dgm:pt modelId="{9EDA018E-FFCD-430A-B069-FF4194C9070A}" type="pres">
      <dgm:prSet presAssocID="{6688859E-EB7F-4BF7-9887-029FC6AF3497}" presName="horzTwo" presStyleCnt="0"/>
      <dgm:spPr/>
    </dgm:pt>
    <dgm:pt modelId="{606DF1D8-C614-43FC-8876-D38E88E5C47C}" type="pres">
      <dgm:prSet presAssocID="{DAC19C66-E30C-4584-83FE-97AD61D05B5A}" presName="vertThree" presStyleCnt="0"/>
      <dgm:spPr/>
    </dgm:pt>
    <dgm:pt modelId="{467E78AA-5DFC-407A-96D1-72F9D1ABDE6C}" type="pres">
      <dgm:prSet presAssocID="{DAC19C66-E30C-4584-83FE-97AD61D05B5A}" presName="txThree" presStyleLbl="node3" presStyleIdx="0" presStyleCnt="5">
        <dgm:presLayoutVars>
          <dgm:chPref val="3"/>
        </dgm:presLayoutVars>
      </dgm:prSet>
      <dgm:spPr/>
    </dgm:pt>
    <dgm:pt modelId="{6017448B-608E-499D-A4EA-13ABC0416242}" type="pres">
      <dgm:prSet presAssocID="{DAC19C66-E30C-4584-83FE-97AD61D05B5A}" presName="parTransThree" presStyleCnt="0"/>
      <dgm:spPr/>
    </dgm:pt>
    <dgm:pt modelId="{F8100690-CF51-4087-9191-9DABF597F406}" type="pres">
      <dgm:prSet presAssocID="{DAC19C66-E30C-4584-83FE-97AD61D05B5A}" presName="horzThree" presStyleCnt="0"/>
      <dgm:spPr/>
    </dgm:pt>
    <dgm:pt modelId="{57DE5935-E43F-4D18-AC5C-FB6DF8F7E38D}" type="pres">
      <dgm:prSet presAssocID="{BFCE4864-33E8-4C4D-A976-4A1DBA7044C8}" presName="vertFour" presStyleCnt="0">
        <dgm:presLayoutVars>
          <dgm:chPref val="3"/>
        </dgm:presLayoutVars>
      </dgm:prSet>
      <dgm:spPr/>
    </dgm:pt>
    <dgm:pt modelId="{46EAE02E-BDB4-4878-8776-75E40840CC07}" type="pres">
      <dgm:prSet presAssocID="{BFCE4864-33E8-4C4D-A976-4A1DBA7044C8}" presName="txFour" presStyleLbl="node4" presStyleIdx="0" presStyleCnt="4">
        <dgm:presLayoutVars>
          <dgm:chPref val="3"/>
        </dgm:presLayoutVars>
      </dgm:prSet>
      <dgm:spPr/>
    </dgm:pt>
    <dgm:pt modelId="{DCCD0317-2977-4B05-9C77-4E19542AD358}" type="pres">
      <dgm:prSet presAssocID="{BFCE4864-33E8-4C4D-A976-4A1DBA7044C8}" presName="horzFour" presStyleCnt="0"/>
      <dgm:spPr/>
    </dgm:pt>
    <dgm:pt modelId="{6F7C8032-692E-4DA1-AEF1-FF6455F645A6}" type="pres">
      <dgm:prSet presAssocID="{265EC70F-34D6-4597-901C-2C6524C0D0B5}" presName="sibSpaceFour" presStyleCnt="0"/>
      <dgm:spPr/>
    </dgm:pt>
    <dgm:pt modelId="{FE653379-EC0F-4666-A1C5-1FF767F43252}" type="pres">
      <dgm:prSet presAssocID="{58FFBEA5-39A0-4B38-BC7D-836EB16902C2}" presName="vertFour" presStyleCnt="0">
        <dgm:presLayoutVars>
          <dgm:chPref val="3"/>
        </dgm:presLayoutVars>
      </dgm:prSet>
      <dgm:spPr/>
    </dgm:pt>
    <dgm:pt modelId="{2CE0D21C-4AD0-4CEF-8D46-C612ED8AB1E8}" type="pres">
      <dgm:prSet presAssocID="{58FFBEA5-39A0-4B38-BC7D-836EB16902C2}" presName="txFour" presStyleLbl="node4" presStyleIdx="1" presStyleCnt="4">
        <dgm:presLayoutVars>
          <dgm:chPref val="3"/>
        </dgm:presLayoutVars>
      </dgm:prSet>
      <dgm:spPr/>
    </dgm:pt>
    <dgm:pt modelId="{B2B8F06D-F764-4715-BAEA-1ADA9C78E5F3}" type="pres">
      <dgm:prSet presAssocID="{58FFBEA5-39A0-4B38-BC7D-836EB16902C2}" presName="horzFour" presStyleCnt="0"/>
      <dgm:spPr/>
    </dgm:pt>
    <dgm:pt modelId="{66B6F009-EBF1-484F-BE23-81D09C028798}" type="pres">
      <dgm:prSet presAssocID="{C3EFB8CA-AE9C-4082-BBD8-19281568A24C}" presName="sibSpaceThree" presStyleCnt="0"/>
      <dgm:spPr/>
    </dgm:pt>
    <dgm:pt modelId="{983274E2-F0E4-46C9-B1DB-BB64D168A794}" type="pres">
      <dgm:prSet presAssocID="{64007797-25D2-4A9B-9135-6EBD595A6048}" presName="vertThree" presStyleCnt="0"/>
      <dgm:spPr/>
    </dgm:pt>
    <dgm:pt modelId="{E1AFE2D3-E8C7-4351-BEA9-2D3EDA7B9634}" type="pres">
      <dgm:prSet presAssocID="{64007797-25D2-4A9B-9135-6EBD595A6048}" presName="txThree" presStyleLbl="node3" presStyleIdx="1" presStyleCnt="5">
        <dgm:presLayoutVars>
          <dgm:chPref val="3"/>
        </dgm:presLayoutVars>
      </dgm:prSet>
      <dgm:spPr/>
    </dgm:pt>
    <dgm:pt modelId="{F4178592-2EF3-4602-83BA-0BF1AE215740}" type="pres">
      <dgm:prSet presAssocID="{64007797-25D2-4A9B-9135-6EBD595A6048}" presName="parTransThree" presStyleCnt="0"/>
      <dgm:spPr/>
    </dgm:pt>
    <dgm:pt modelId="{229BC34E-DFC3-4AD6-B892-B3FC69C19621}" type="pres">
      <dgm:prSet presAssocID="{64007797-25D2-4A9B-9135-6EBD595A6048}" presName="horzThree" presStyleCnt="0"/>
      <dgm:spPr/>
    </dgm:pt>
    <dgm:pt modelId="{EFD55F1F-9D02-4242-8248-DFF682D70BF1}" type="pres">
      <dgm:prSet presAssocID="{82BB81AF-4E28-4EB3-92D6-F903767FCF6C}" presName="vertFour" presStyleCnt="0">
        <dgm:presLayoutVars>
          <dgm:chPref val="3"/>
        </dgm:presLayoutVars>
      </dgm:prSet>
      <dgm:spPr/>
    </dgm:pt>
    <dgm:pt modelId="{5E27A873-BDEF-4108-BE97-11C69C7BBE91}" type="pres">
      <dgm:prSet presAssocID="{82BB81AF-4E28-4EB3-92D6-F903767FCF6C}" presName="txFour" presStyleLbl="node4" presStyleIdx="2" presStyleCnt="4">
        <dgm:presLayoutVars>
          <dgm:chPref val="3"/>
        </dgm:presLayoutVars>
      </dgm:prSet>
      <dgm:spPr/>
    </dgm:pt>
    <dgm:pt modelId="{DA816B2A-EBC0-4505-BB43-F4711CF98157}" type="pres">
      <dgm:prSet presAssocID="{82BB81AF-4E28-4EB3-92D6-F903767FCF6C}" presName="horzFour" presStyleCnt="0"/>
      <dgm:spPr/>
    </dgm:pt>
    <dgm:pt modelId="{F46E4165-7ECD-4515-B4BF-0213F869AA04}" type="pres">
      <dgm:prSet presAssocID="{7DE9BC56-EA5F-4FA2-868B-2888662B5F2A}" presName="sibSpaceFour" presStyleCnt="0"/>
      <dgm:spPr/>
    </dgm:pt>
    <dgm:pt modelId="{5B3071A4-7D5B-430D-97E1-FAA443E06F15}" type="pres">
      <dgm:prSet presAssocID="{6FB1075E-45DC-43B5-BB1A-34B04B2E9AA0}" presName="vertFour" presStyleCnt="0">
        <dgm:presLayoutVars>
          <dgm:chPref val="3"/>
        </dgm:presLayoutVars>
      </dgm:prSet>
      <dgm:spPr/>
    </dgm:pt>
    <dgm:pt modelId="{F994729D-3402-4F60-B241-9DD08E282716}" type="pres">
      <dgm:prSet presAssocID="{6FB1075E-45DC-43B5-BB1A-34B04B2E9AA0}" presName="txFour" presStyleLbl="node4" presStyleIdx="3" presStyleCnt="4">
        <dgm:presLayoutVars>
          <dgm:chPref val="3"/>
        </dgm:presLayoutVars>
      </dgm:prSet>
      <dgm:spPr/>
    </dgm:pt>
    <dgm:pt modelId="{849D0E9B-CBC5-4F2D-A0D0-D54651D31904}" type="pres">
      <dgm:prSet presAssocID="{6FB1075E-45DC-43B5-BB1A-34B04B2E9AA0}" presName="horzFour" presStyleCnt="0"/>
      <dgm:spPr/>
    </dgm:pt>
    <dgm:pt modelId="{D0D5C32B-803A-4C34-BF5B-1867853683CC}" type="pres">
      <dgm:prSet presAssocID="{06DAEE10-89AB-470D-B128-CE95A4A981AA}" presName="sibSpaceTwo" presStyleCnt="0"/>
      <dgm:spPr/>
    </dgm:pt>
    <dgm:pt modelId="{421882E6-C7D8-49AC-8665-5E61FDD6D431}" type="pres">
      <dgm:prSet presAssocID="{AEC8E162-B60D-46A1-B228-DD1DCC2081DA}" presName="vertTwo" presStyleCnt="0"/>
      <dgm:spPr/>
    </dgm:pt>
    <dgm:pt modelId="{ACED064E-AFC5-4DA9-B713-28E6B828108B}" type="pres">
      <dgm:prSet presAssocID="{AEC8E162-B60D-46A1-B228-DD1DCC2081DA}" presName="txTwo" presStyleLbl="node2" presStyleIdx="1" presStyleCnt="2" custScaleX="95937">
        <dgm:presLayoutVars>
          <dgm:chPref val="3"/>
        </dgm:presLayoutVars>
      </dgm:prSet>
      <dgm:spPr/>
    </dgm:pt>
    <dgm:pt modelId="{F63BEEA0-FF78-4501-90E1-C16AFB7B6827}" type="pres">
      <dgm:prSet presAssocID="{AEC8E162-B60D-46A1-B228-DD1DCC2081DA}" presName="parTransTwo" presStyleCnt="0"/>
      <dgm:spPr/>
    </dgm:pt>
    <dgm:pt modelId="{9BBC1119-5AAD-4AB8-BB31-67BC6176C1E9}" type="pres">
      <dgm:prSet presAssocID="{AEC8E162-B60D-46A1-B228-DD1DCC2081DA}" presName="horzTwo" presStyleCnt="0"/>
      <dgm:spPr/>
    </dgm:pt>
    <dgm:pt modelId="{B2644BFE-8803-4005-9D2F-5C78BC89AD62}" type="pres">
      <dgm:prSet presAssocID="{CE68FCDE-4095-49A3-A8A2-59DB02C65E18}" presName="vertThree" presStyleCnt="0"/>
      <dgm:spPr/>
    </dgm:pt>
    <dgm:pt modelId="{8540A6FD-446E-413B-A633-EEA25E90D93D}" type="pres">
      <dgm:prSet presAssocID="{CE68FCDE-4095-49A3-A8A2-59DB02C65E18}" presName="txThree" presStyleLbl="node3" presStyleIdx="2" presStyleCnt="5" custLinFactY="10331" custLinFactNeighborX="7954" custLinFactNeighborY="100000">
        <dgm:presLayoutVars>
          <dgm:chPref val="3"/>
        </dgm:presLayoutVars>
      </dgm:prSet>
      <dgm:spPr/>
    </dgm:pt>
    <dgm:pt modelId="{B6DB6CA0-A116-407E-9EDF-C1534C955AF4}" type="pres">
      <dgm:prSet presAssocID="{CE68FCDE-4095-49A3-A8A2-59DB02C65E18}" presName="horzThree" presStyleCnt="0"/>
      <dgm:spPr/>
    </dgm:pt>
    <dgm:pt modelId="{3DF2A2D5-A5C4-4858-8DB3-141F6056C3DF}" type="pres">
      <dgm:prSet presAssocID="{1D121078-FA1B-4203-BA10-20AC23D06FA4}" presName="sibSpaceThree" presStyleCnt="0"/>
      <dgm:spPr/>
    </dgm:pt>
    <dgm:pt modelId="{746F32E0-312D-4146-BFC5-9893FB25385F}" type="pres">
      <dgm:prSet presAssocID="{6B1A28FB-EDCF-425A-9E45-1309B4DBFF0B}" presName="vertThree" presStyleCnt="0"/>
      <dgm:spPr/>
    </dgm:pt>
    <dgm:pt modelId="{6479893C-F7C5-4EC7-976D-A46B8B9DED63}" type="pres">
      <dgm:prSet presAssocID="{6B1A28FB-EDCF-425A-9E45-1309B4DBFF0B}" presName="txThree" presStyleLbl="node3" presStyleIdx="3" presStyleCnt="5" custLinFactY="10913" custLinFactNeighborX="4082" custLinFactNeighborY="100000">
        <dgm:presLayoutVars>
          <dgm:chPref val="3"/>
        </dgm:presLayoutVars>
      </dgm:prSet>
      <dgm:spPr/>
    </dgm:pt>
    <dgm:pt modelId="{5D5CD81F-BBC3-456D-A305-D677BC6142D5}" type="pres">
      <dgm:prSet presAssocID="{6B1A28FB-EDCF-425A-9E45-1309B4DBFF0B}" presName="horzThree" presStyleCnt="0"/>
      <dgm:spPr/>
    </dgm:pt>
    <dgm:pt modelId="{690D034C-DCFE-40F4-844D-A36EC6C55F51}" type="pres">
      <dgm:prSet presAssocID="{62A060A1-AEFD-4B91-B3F5-C5B533F3EAF4}" presName="sibSpaceThree" presStyleCnt="0"/>
      <dgm:spPr/>
    </dgm:pt>
    <dgm:pt modelId="{3E6C5E6B-8846-4FD2-BA31-512B64F11DE9}" type="pres">
      <dgm:prSet presAssocID="{A336FC49-2E28-45C8-99F7-C33FD72FDACB}" presName="vertThree" presStyleCnt="0"/>
      <dgm:spPr/>
    </dgm:pt>
    <dgm:pt modelId="{277BC6D9-E3F2-464B-B205-8C2E6073561A}" type="pres">
      <dgm:prSet presAssocID="{A336FC49-2E28-45C8-99F7-C33FD72FDACB}" presName="txThree" presStyleLbl="node3" presStyleIdx="4" presStyleCnt="5" custLinFactY="11755" custLinFactNeighborX="451" custLinFactNeighborY="100000">
        <dgm:presLayoutVars>
          <dgm:chPref val="3"/>
        </dgm:presLayoutVars>
      </dgm:prSet>
      <dgm:spPr/>
    </dgm:pt>
    <dgm:pt modelId="{D45D4001-CA5A-4183-801B-6DA942CD8AD6}" type="pres">
      <dgm:prSet presAssocID="{A336FC49-2E28-45C8-99F7-C33FD72FDACB}" presName="horzThree" presStyleCnt="0"/>
      <dgm:spPr/>
    </dgm:pt>
  </dgm:ptLst>
  <dgm:cxnLst>
    <dgm:cxn modelId="{15378004-104A-4486-BE08-BCCB2D318594}" srcId="{BEB0856F-EEB0-4FF9-A0D9-57523069C773}" destId="{4D106D84-0CD3-4A39-AAB6-E89A4AAEC34E}" srcOrd="0" destOrd="0" parTransId="{F8B5D523-4B3B-4CE1-84CB-49463C83CD21}" sibTransId="{CE724BF4-3BA9-45FA-B07C-983A1174510D}"/>
    <dgm:cxn modelId="{A177DF0F-B751-4826-89D1-A09CF3FEE122}" type="presOf" srcId="{4D106D84-0CD3-4A39-AAB6-E89A4AAEC34E}" destId="{40741090-657C-498A-B5BA-ECA520E17FFB}" srcOrd="0" destOrd="0" presId="urn:microsoft.com/office/officeart/2005/8/layout/hierarchy4"/>
    <dgm:cxn modelId="{BE0B4327-0B62-47B4-8B3F-3CFBBF725B99}" type="presOf" srcId="{BEB0856F-EEB0-4FF9-A0D9-57523069C773}" destId="{724835E1-401D-4031-9347-4AA50ACC133F}" srcOrd="0" destOrd="0" presId="urn:microsoft.com/office/officeart/2005/8/layout/hierarchy4"/>
    <dgm:cxn modelId="{A38C8A27-AB5E-4DF8-82C6-1E138BBD2BF5}" srcId="{DAC19C66-E30C-4584-83FE-97AD61D05B5A}" destId="{58FFBEA5-39A0-4B38-BC7D-836EB16902C2}" srcOrd="1" destOrd="0" parTransId="{083CC6DC-D5AA-4B19-A54E-C89C022F6233}" sibTransId="{D7E2A7CD-514D-4322-BBCA-69C44A354A2F}"/>
    <dgm:cxn modelId="{AB8C6730-0352-44BD-9973-8DBE79C97AC3}" type="presOf" srcId="{6B1A28FB-EDCF-425A-9E45-1309B4DBFF0B}" destId="{6479893C-F7C5-4EC7-976D-A46B8B9DED63}" srcOrd="0" destOrd="0" presId="urn:microsoft.com/office/officeart/2005/8/layout/hierarchy4"/>
    <dgm:cxn modelId="{CE00D731-12CA-4090-8CE5-0FB76750EAC1}" srcId="{AEC8E162-B60D-46A1-B228-DD1DCC2081DA}" destId="{6B1A28FB-EDCF-425A-9E45-1309B4DBFF0B}" srcOrd="1" destOrd="0" parTransId="{B6760638-BB7E-4554-A9B8-FCC1ED90070C}" sibTransId="{62A060A1-AEFD-4B91-B3F5-C5B533F3EAF4}"/>
    <dgm:cxn modelId="{FDDDE836-0E64-456A-AA88-C4F65AC5C476}" type="presOf" srcId="{6688859E-EB7F-4BF7-9887-029FC6AF3497}" destId="{352E19D0-2321-4F45-AAC3-46A7DB1E9B3A}" srcOrd="0" destOrd="0" presId="urn:microsoft.com/office/officeart/2005/8/layout/hierarchy4"/>
    <dgm:cxn modelId="{ADF20C43-86EC-439B-BB8D-016F9622D34B}" type="presOf" srcId="{BFCE4864-33E8-4C4D-A976-4A1DBA7044C8}" destId="{46EAE02E-BDB4-4878-8776-75E40840CC07}" srcOrd="0" destOrd="0" presId="urn:microsoft.com/office/officeart/2005/8/layout/hierarchy4"/>
    <dgm:cxn modelId="{E6BBBF6B-C34C-4BC9-ABB8-0128571A8136}" srcId="{6688859E-EB7F-4BF7-9887-029FC6AF3497}" destId="{64007797-25D2-4A9B-9135-6EBD595A6048}" srcOrd="1" destOrd="0" parTransId="{9C5CFE3F-0884-49CE-8268-8A8D7BC9119C}" sibTransId="{5E17247C-161F-4132-B512-AB4F2BE7F0C9}"/>
    <dgm:cxn modelId="{3C70B46E-951D-4424-AE33-1ADCD1B2473A}" type="presOf" srcId="{82BB81AF-4E28-4EB3-92D6-F903767FCF6C}" destId="{5E27A873-BDEF-4108-BE97-11C69C7BBE91}" srcOrd="0" destOrd="0" presId="urn:microsoft.com/office/officeart/2005/8/layout/hierarchy4"/>
    <dgm:cxn modelId="{B2643384-143D-400D-8DA8-61DFFC95F6F3}" srcId="{AEC8E162-B60D-46A1-B228-DD1DCC2081DA}" destId="{A336FC49-2E28-45C8-99F7-C33FD72FDACB}" srcOrd="2" destOrd="0" parTransId="{F66946AF-3A73-4B96-BE2A-A8CFBA9E5019}" sibTransId="{1A9F756D-29E2-4914-BFB3-D2A9A68A8323}"/>
    <dgm:cxn modelId="{EEDA2E97-1E77-4CAC-88DA-CD39CEC0930C}" type="presOf" srcId="{6FB1075E-45DC-43B5-BB1A-34B04B2E9AA0}" destId="{F994729D-3402-4F60-B241-9DD08E282716}" srcOrd="0" destOrd="0" presId="urn:microsoft.com/office/officeart/2005/8/layout/hierarchy4"/>
    <dgm:cxn modelId="{DAE7C2A2-8E1A-4F20-A5AF-42707A79166E}" srcId="{4D106D84-0CD3-4A39-AAB6-E89A4AAEC34E}" destId="{6688859E-EB7F-4BF7-9887-029FC6AF3497}" srcOrd="0" destOrd="0" parTransId="{C9B8A42B-B093-4FE3-8CFD-B910839AD379}" sibTransId="{06DAEE10-89AB-470D-B128-CE95A4A981AA}"/>
    <dgm:cxn modelId="{157225A4-1D1B-4B9D-B793-AC2DD4E58B50}" type="presOf" srcId="{CE68FCDE-4095-49A3-A8A2-59DB02C65E18}" destId="{8540A6FD-446E-413B-A633-EEA25E90D93D}" srcOrd="0" destOrd="0" presId="urn:microsoft.com/office/officeart/2005/8/layout/hierarchy4"/>
    <dgm:cxn modelId="{0FB98FA5-4BE6-4FB0-9B83-792E45710DD4}" type="presOf" srcId="{64007797-25D2-4A9B-9135-6EBD595A6048}" destId="{E1AFE2D3-E8C7-4351-BEA9-2D3EDA7B9634}" srcOrd="0" destOrd="0" presId="urn:microsoft.com/office/officeart/2005/8/layout/hierarchy4"/>
    <dgm:cxn modelId="{AA636CAE-342E-4614-80B9-1692096AB3C2}" srcId="{AEC8E162-B60D-46A1-B228-DD1DCC2081DA}" destId="{CE68FCDE-4095-49A3-A8A2-59DB02C65E18}" srcOrd="0" destOrd="0" parTransId="{C16F8D7E-C529-4AD7-BE46-9CD0EF70F335}" sibTransId="{1D121078-FA1B-4203-BA10-20AC23D06FA4}"/>
    <dgm:cxn modelId="{990D75BC-9374-4AA8-98F6-45185D4BBAD3}" type="presOf" srcId="{58FFBEA5-39A0-4B38-BC7D-836EB16902C2}" destId="{2CE0D21C-4AD0-4CEF-8D46-C612ED8AB1E8}" srcOrd="0" destOrd="0" presId="urn:microsoft.com/office/officeart/2005/8/layout/hierarchy4"/>
    <dgm:cxn modelId="{7724B4D0-054C-4633-9A06-A6656F054E40}" type="presOf" srcId="{A336FC49-2E28-45C8-99F7-C33FD72FDACB}" destId="{277BC6D9-E3F2-464B-B205-8C2E6073561A}" srcOrd="0" destOrd="0" presId="urn:microsoft.com/office/officeart/2005/8/layout/hierarchy4"/>
    <dgm:cxn modelId="{A030D3D7-A8F4-4A86-904C-D9ACE3725070}" type="presOf" srcId="{AEC8E162-B60D-46A1-B228-DD1DCC2081DA}" destId="{ACED064E-AFC5-4DA9-B713-28E6B828108B}" srcOrd="0" destOrd="0" presId="urn:microsoft.com/office/officeart/2005/8/layout/hierarchy4"/>
    <dgm:cxn modelId="{E5815ED8-5DC7-46CA-8720-864FFCD8A01C}" srcId="{4D106D84-0CD3-4A39-AAB6-E89A4AAEC34E}" destId="{AEC8E162-B60D-46A1-B228-DD1DCC2081DA}" srcOrd="1" destOrd="0" parTransId="{484F5001-AE87-4287-B15C-44DCB92FBB8C}" sibTransId="{5EEA003E-9E58-4B1A-B053-0682D56F0FAE}"/>
    <dgm:cxn modelId="{99BBD0D8-1B85-4644-B222-6DDCE17AC8C1}" srcId="{64007797-25D2-4A9B-9135-6EBD595A6048}" destId="{82BB81AF-4E28-4EB3-92D6-F903767FCF6C}" srcOrd="0" destOrd="0" parTransId="{3468F776-41E3-4B4A-89A7-F74403B47944}" sibTransId="{7DE9BC56-EA5F-4FA2-868B-2888662B5F2A}"/>
    <dgm:cxn modelId="{4CC665E2-462D-4222-9938-584AF819A983}" srcId="{DAC19C66-E30C-4584-83FE-97AD61D05B5A}" destId="{BFCE4864-33E8-4C4D-A976-4A1DBA7044C8}" srcOrd="0" destOrd="0" parTransId="{0ADDAF61-FF47-4450-AC13-F0B621B4F3F2}" sibTransId="{265EC70F-34D6-4597-901C-2C6524C0D0B5}"/>
    <dgm:cxn modelId="{24DDB6E9-CC95-4348-957F-D8CC48651829}" type="presOf" srcId="{DAC19C66-E30C-4584-83FE-97AD61D05B5A}" destId="{467E78AA-5DFC-407A-96D1-72F9D1ABDE6C}" srcOrd="0" destOrd="0" presId="urn:microsoft.com/office/officeart/2005/8/layout/hierarchy4"/>
    <dgm:cxn modelId="{2CA0A4EC-031A-48AA-8EE3-F2A94234C124}" srcId="{64007797-25D2-4A9B-9135-6EBD595A6048}" destId="{6FB1075E-45DC-43B5-BB1A-34B04B2E9AA0}" srcOrd="1" destOrd="0" parTransId="{FDBE5553-0F67-481F-97A3-564781AF2EBA}" sibTransId="{6EC34FE3-F350-4629-AF7E-64837BA8A2BA}"/>
    <dgm:cxn modelId="{8AB77AF8-E7BF-4A72-917C-938004B3DA11}" srcId="{6688859E-EB7F-4BF7-9887-029FC6AF3497}" destId="{DAC19C66-E30C-4584-83FE-97AD61D05B5A}" srcOrd="0" destOrd="0" parTransId="{22B6960D-4909-413C-872A-283B66508C79}" sibTransId="{C3EFB8CA-AE9C-4082-BBD8-19281568A24C}"/>
    <dgm:cxn modelId="{66C8C8A8-0C6E-445B-8B76-A9956FAA58AF}" type="presParOf" srcId="{724835E1-401D-4031-9347-4AA50ACC133F}" destId="{2E071385-76C2-41F7-8636-CDF6A7397EBF}" srcOrd="0" destOrd="0" presId="urn:microsoft.com/office/officeart/2005/8/layout/hierarchy4"/>
    <dgm:cxn modelId="{B5CCBBC2-283D-4E43-815C-9B7705C09A74}" type="presParOf" srcId="{2E071385-76C2-41F7-8636-CDF6A7397EBF}" destId="{40741090-657C-498A-B5BA-ECA520E17FFB}" srcOrd="0" destOrd="0" presId="urn:microsoft.com/office/officeart/2005/8/layout/hierarchy4"/>
    <dgm:cxn modelId="{C5EEA329-49D5-4AED-BD6E-4BE8FFBB945B}" type="presParOf" srcId="{2E071385-76C2-41F7-8636-CDF6A7397EBF}" destId="{CBAD795F-D0F7-45DE-9731-0AD70689DAC5}" srcOrd="1" destOrd="0" presId="urn:microsoft.com/office/officeart/2005/8/layout/hierarchy4"/>
    <dgm:cxn modelId="{8B84415D-623C-4A32-86D5-013D24D3AD26}" type="presParOf" srcId="{2E071385-76C2-41F7-8636-CDF6A7397EBF}" destId="{94B82718-40D1-491B-B152-4595E9EB1846}" srcOrd="2" destOrd="0" presId="urn:microsoft.com/office/officeart/2005/8/layout/hierarchy4"/>
    <dgm:cxn modelId="{E19B1517-1A69-41E7-8346-BB685B4A828F}" type="presParOf" srcId="{94B82718-40D1-491B-B152-4595E9EB1846}" destId="{EA52085D-4EC3-414D-9007-68CC2DFC086D}" srcOrd="0" destOrd="0" presId="urn:microsoft.com/office/officeart/2005/8/layout/hierarchy4"/>
    <dgm:cxn modelId="{F2EFAB6A-D7B6-4BF8-B7F3-718991F85FA7}" type="presParOf" srcId="{EA52085D-4EC3-414D-9007-68CC2DFC086D}" destId="{352E19D0-2321-4F45-AAC3-46A7DB1E9B3A}" srcOrd="0" destOrd="0" presId="urn:microsoft.com/office/officeart/2005/8/layout/hierarchy4"/>
    <dgm:cxn modelId="{520F46F4-47CD-45E4-A467-B57457C0E37F}" type="presParOf" srcId="{EA52085D-4EC3-414D-9007-68CC2DFC086D}" destId="{22A3CDFF-9253-464A-B472-BC4213B4B3A1}" srcOrd="1" destOrd="0" presId="urn:microsoft.com/office/officeart/2005/8/layout/hierarchy4"/>
    <dgm:cxn modelId="{648E69F6-61C6-4777-9E8D-35A96C75A967}" type="presParOf" srcId="{EA52085D-4EC3-414D-9007-68CC2DFC086D}" destId="{9EDA018E-FFCD-430A-B069-FF4194C9070A}" srcOrd="2" destOrd="0" presId="urn:microsoft.com/office/officeart/2005/8/layout/hierarchy4"/>
    <dgm:cxn modelId="{2A11F4CC-2E20-4492-88EC-18E100B5AEA1}" type="presParOf" srcId="{9EDA018E-FFCD-430A-B069-FF4194C9070A}" destId="{606DF1D8-C614-43FC-8876-D38E88E5C47C}" srcOrd="0" destOrd="0" presId="urn:microsoft.com/office/officeart/2005/8/layout/hierarchy4"/>
    <dgm:cxn modelId="{CE5E116C-7FDD-4CC6-920F-E3292DF54910}" type="presParOf" srcId="{606DF1D8-C614-43FC-8876-D38E88E5C47C}" destId="{467E78AA-5DFC-407A-96D1-72F9D1ABDE6C}" srcOrd="0" destOrd="0" presId="urn:microsoft.com/office/officeart/2005/8/layout/hierarchy4"/>
    <dgm:cxn modelId="{8509FF5B-CE42-4F57-9E68-88E75E9F0A06}" type="presParOf" srcId="{606DF1D8-C614-43FC-8876-D38E88E5C47C}" destId="{6017448B-608E-499D-A4EA-13ABC0416242}" srcOrd="1" destOrd="0" presId="urn:microsoft.com/office/officeart/2005/8/layout/hierarchy4"/>
    <dgm:cxn modelId="{A42EE22D-BB41-41A0-BB79-8FDD36B0956C}" type="presParOf" srcId="{606DF1D8-C614-43FC-8876-D38E88E5C47C}" destId="{F8100690-CF51-4087-9191-9DABF597F406}" srcOrd="2" destOrd="0" presId="urn:microsoft.com/office/officeart/2005/8/layout/hierarchy4"/>
    <dgm:cxn modelId="{5D78B5BF-7436-4D11-8B50-27C051610327}" type="presParOf" srcId="{F8100690-CF51-4087-9191-9DABF597F406}" destId="{57DE5935-E43F-4D18-AC5C-FB6DF8F7E38D}" srcOrd="0" destOrd="0" presId="urn:microsoft.com/office/officeart/2005/8/layout/hierarchy4"/>
    <dgm:cxn modelId="{C2D0C3F0-272A-42FB-87B1-E418E62CAFC3}" type="presParOf" srcId="{57DE5935-E43F-4D18-AC5C-FB6DF8F7E38D}" destId="{46EAE02E-BDB4-4878-8776-75E40840CC07}" srcOrd="0" destOrd="0" presId="urn:microsoft.com/office/officeart/2005/8/layout/hierarchy4"/>
    <dgm:cxn modelId="{872B54DE-D313-4C02-BAB1-9CF4EE7C042B}" type="presParOf" srcId="{57DE5935-E43F-4D18-AC5C-FB6DF8F7E38D}" destId="{DCCD0317-2977-4B05-9C77-4E19542AD358}" srcOrd="1" destOrd="0" presId="urn:microsoft.com/office/officeart/2005/8/layout/hierarchy4"/>
    <dgm:cxn modelId="{F3C378B8-112B-4506-9013-291A5BA0BBC1}" type="presParOf" srcId="{F8100690-CF51-4087-9191-9DABF597F406}" destId="{6F7C8032-692E-4DA1-AEF1-FF6455F645A6}" srcOrd="1" destOrd="0" presId="urn:microsoft.com/office/officeart/2005/8/layout/hierarchy4"/>
    <dgm:cxn modelId="{702E94DE-BEFE-49D0-804F-B6CF21F5EFD8}" type="presParOf" srcId="{F8100690-CF51-4087-9191-9DABF597F406}" destId="{FE653379-EC0F-4666-A1C5-1FF767F43252}" srcOrd="2" destOrd="0" presId="urn:microsoft.com/office/officeart/2005/8/layout/hierarchy4"/>
    <dgm:cxn modelId="{BF9DCFE3-98E5-4DBC-AE04-853195430C9E}" type="presParOf" srcId="{FE653379-EC0F-4666-A1C5-1FF767F43252}" destId="{2CE0D21C-4AD0-4CEF-8D46-C612ED8AB1E8}" srcOrd="0" destOrd="0" presId="urn:microsoft.com/office/officeart/2005/8/layout/hierarchy4"/>
    <dgm:cxn modelId="{4115BCB6-EEB1-4BB6-A8B2-F7484F5D698C}" type="presParOf" srcId="{FE653379-EC0F-4666-A1C5-1FF767F43252}" destId="{B2B8F06D-F764-4715-BAEA-1ADA9C78E5F3}" srcOrd="1" destOrd="0" presId="urn:microsoft.com/office/officeart/2005/8/layout/hierarchy4"/>
    <dgm:cxn modelId="{FE58AA31-8DFD-429C-90DE-65E840F81D9F}" type="presParOf" srcId="{9EDA018E-FFCD-430A-B069-FF4194C9070A}" destId="{66B6F009-EBF1-484F-BE23-81D09C028798}" srcOrd="1" destOrd="0" presId="urn:microsoft.com/office/officeart/2005/8/layout/hierarchy4"/>
    <dgm:cxn modelId="{5F175414-FC1B-4716-958F-162478786DAD}" type="presParOf" srcId="{9EDA018E-FFCD-430A-B069-FF4194C9070A}" destId="{983274E2-F0E4-46C9-B1DB-BB64D168A794}" srcOrd="2" destOrd="0" presId="urn:microsoft.com/office/officeart/2005/8/layout/hierarchy4"/>
    <dgm:cxn modelId="{34919BE1-64D7-47CE-9BF1-D41787A35D28}" type="presParOf" srcId="{983274E2-F0E4-46C9-B1DB-BB64D168A794}" destId="{E1AFE2D3-E8C7-4351-BEA9-2D3EDA7B9634}" srcOrd="0" destOrd="0" presId="urn:microsoft.com/office/officeart/2005/8/layout/hierarchy4"/>
    <dgm:cxn modelId="{60546BA1-65E1-497D-B937-39DC24B29635}" type="presParOf" srcId="{983274E2-F0E4-46C9-B1DB-BB64D168A794}" destId="{F4178592-2EF3-4602-83BA-0BF1AE215740}" srcOrd="1" destOrd="0" presId="urn:microsoft.com/office/officeart/2005/8/layout/hierarchy4"/>
    <dgm:cxn modelId="{458BF871-576D-4A81-ADB2-9112390C1732}" type="presParOf" srcId="{983274E2-F0E4-46C9-B1DB-BB64D168A794}" destId="{229BC34E-DFC3-4AD6-B892-B3FC69C19621}" srcOrd="2" destOrd="0" presId="urn:microsoft.com/office/officeart/2005/8/layout/hierarchy4"/>
    <dgm:cxn modelId="{8DABDBF1-9D15-44BA-AF56-AC8E78B6B8DF}" type="presParOf" srcId="{229BC34E-DFC3-4AD6-B892-B3FC69C19621}" destId="{EFD55F1F-9D02-4242-8248-DFF682D70BF1}" srcOrd="0" destOrd="0" presId="urn:microsoft.com/office/officeart/2005/8/layout/hierarchy4"/>
    <dgm:cxn modelId="{8BD1387A-6EC6-42B1-A482-D7D898D6E80E}" type="presParOf" srcId="{EFD55F1F-9D02-4242-8248-DFF682D70BF1}" destId="{5E27A873-BDEF-4108-BE97-11C69C7BBE91}" srcOrd="0" destOrd="0" presId="urn:microsoft.com/office/officeart/2005/8/layout/hierarchy4"/>
    <dgm:cxn modelId="{F140EA15-8ED4-4F69-8274-9659CE94D366}" type="presParOf" srcId="{EFD55F1F-9D02-4242-8248-DFF682D70BF1}" destId="{DA816B2A-EBC0-4505-BB43-F4711CF98157}" srcOrd="1" destOrd="0" presId="urn:microsoft.com/office/officeart/2005/8/layout/hierarchy4"/>
    <dgm:cxn modelId="{4779828A-DA3C-4FC4-B873-97CC43C7AC2F}" type="presParOf" srcId="{229BC34E-DFC3-4AD6-B892-B3FC69C19621}" destId="{F46E4165-7ECD-4515-B4BF-0213F869AA04}" srcOrd="1" destOrd="0" presId="urn:microsoft.com/office/officeart/2005/8/layout/hierarchy4"/>
    <dgm:cxn modelId="{567C9D67-9954-4E2F-8223-EA457F61B12F}" type="presParOf" srcId="{229BC34E-DFC3-4AD6-B892-B3FC69C19621}" destId="{5B3071A4-7D5B-430D-97E1-FAA443E06F15}" srcOrd="2" destOrd="0" presId="urn:microsoft.com/office/officeart/2005/8/layout/hierarchy4"/>
    <dgm:cxn modelId="{EA196A19-611D-4193-A223-414BAD2FE1B8}" type="presParOf" srcId="{5B3071A4-7D5B-430D-97E1-FAA443E06F15}" destId="{F994729D-3402-4F60-B241-9DD08E282716}" srcOrd="0" destOrd="0" presId="urn:microsoft.com/office/officeart/2005/8/layout/hierarchy4"/>
    <dgm:cxn modelId="{46863A07-5DF2-40F4-97E1-D49E039A7235}" type="presParOf" srcId="{5B3071A4-7D5B-430D-97E1-FAA443E06F15}" destId="{849D0E9B-CBC5-4F2D-A0D0-D54651D31904}" srcOrd="1" destOrd="0" presId="urn:microsoft.com/office/officeart/2005/8/layout/hierarchy4"/>
    <dgm:cxn modelId="{C8E57E97-CAA0-448A-8F9A-83DE47B7F8AC}" type="presParOf" srcId="{94B82718-40D1-491B-B152-4595E9EB1846}" destId="{D0D5C32B-803A-4C34-BF5B-1867853683CC}" srcOrd="1" destOrd="0" presId="urn:microsoft.com/office/officeart/2005/8/layout/hierarchy4"/>
    <dgm:cxn modelId="{C2CBF4B2-E7BA-47AC-A294-C4484BA3FC91}" type="presParOf" srcId="{94B82718-40D1-491B-B152-4595E9EB1846}" destId="{421882E6-C7D8-49AC-8665-5E61FDD6D431}" srcOrd="2" destOrd="0" presId="urn:microsoft.com/office/officeart/2005/8/layout/hierarchy4"/>
    <dgm:cxn modelId="{9753CAC9-1AA9-4654-B937-B4B21B088D85}" type="presParOf" srcId="{421882E6-C7D8-49AC-8665-5E61FDD6D431}" destId="{ACED064E-AFC5-4DA9-B713-28E6B828108B}" srcOrd="0" destOrd="0" presId="urn:microsoft.com/office/officeart/2005/8/layout/hierarchy4"/>
    <dgm:cxn modelId="{9431D3E4-17A8-43C9-B5AD-ECF572848438}" type="presParOf" srcId="{421882E6-C7D8-49AC-8665-5E61FDD6D431}" destId="{F63BEEA0-FF78-4501-90E1-C16AFB7B6827}" srcOrd="1" destOrd="0" presId="urn:microsoft.com/office/officeart/2005/8/layout/hierarchy4"/>
    <dgm:cxn modelId="{FAB21A21-6A0C-4E60-99E2-7DD5A619AA15}" type="presParOf" srcId="{421882E6-C7D8-49AC-8665-5E61FDD6D431}" destId="{9BBC1119-5AAD-4AB8-BB31-67BC6176C1E9}" srcOrd="2" destOrd="0" presId="urn:microsoft.com/office/officeart/2005/8/layout/hierarchy4"/>
    <dgm:cxn modelId="{F51C8BB8-91CE-4CB7-A28D-A4B1A3F26212}" type="presParOf" srcId="{9BBC1119-5AAD-4AB8-BB31-67BC6176C1E9}" destId="{B2644BFE-8803-4005-9D2F-5C78BC89AD62}" srcOrd="0" destOrd="0" presId="urn:microsoft.com/office/officeart/2005/8/layout/hierarchy4"/>
    <dgm:cxn modelId="{A0FAC2FD-018B-490E-AE04-DFE7006333DF}" type="presParOf" srcId="{B2644BFE-8803-4005-9D2F-5C78BC89AD62}" destId="{8540A6FD-446E-413B-A633-EEA25E90D93D}" srcOrd="0" destOrd="0" presId="urn:microsoft.com/office/officeart/2005/8/layout/hierarchy4"/>
    <dgm:cxn modelId="{7C8037BB-A451-466F-80DD-0EC79FFF2CE5}" type="presParOf" srcId="{B2644BFE-8803-4005-9D2F-5C78BC89AD62}" destId="{B6DB6CA0-A116-407E-9EDF-C1534C955AF4}" srcOrd="1" destOrd="0" presId="urn:microsoft.com/office/officeart/2005/8/layout/hierarchy4"/>
    <dgm:cxn modelId="{22CE2815-0240-47C6-A0C5-1247C4E753D2}" type="presParOf" srcId="{9BBC1119-5AAD-4AB8-BB31-67BC6176C1E9}" destId="{3DF2A2D5-A5C4-4858-8DB3-141F6056C3DF}" srcOrd="1" destOrd="0" presId="urn:microsoft.com/office/officeart/2005/8/layout/hierarchy4"/>
    <dgm:cxn modelId="{702BE0A6-28AA-471A-9896-F4C6B29689DF}" type="presParOf" srcId="{9BBC1119-5AAD-4AB8-BB31-67BC6176C1E9}" destId="{746F32E0-312D-4146-BFC5-9893FB25385F}" srcOrd="2" destOrd="0" presId="urn:microsoft.com/office/officeart/2005/8/layout/hierarchy4"/>
    <dgm:cxn modelId="{E29D7F4D-1509-4FB0-9E90-818EE01B615D}" type="presParOf" srcId="{746F32E0-312D-4146-BFC5-9893FB25385F}" destId="{6479893C-F7C5-4EC7-976D-A46B8B9DED63}" srcOrd="0" destOrd="0" presId="urn:microsoft.com/office/officeart/2005/8/layout/hierarchy4"/>
    <dgm:cxn modelId="{A9A48AFC-F666-4274-91A8-16EA99222D76}" type="presParOf" srcId="{746F32E0-312D-4146-BFC5-9893FB25385F}" destId="{5D5CD81F-BBC3-456D-A305-D677BC6142D5}" srcOrd="1" destOrd="0" presId="urn:microsoft.com/office/officeart/2005/8/layout/hierarchy4"/>
    <dgm:cxn modelId="{1937B00E-6A0C-48FF-B44E-F167E88B806D}" type="presParOf" srcId="{9BBC1119-5AAD-4AB8-BB31-67BC6176C1E9}" destId="{690D034C-DCFE-40F4-844D-A36EC6C55F51}" srcOrd="3" destOrd="0" presId="urn:microsoft.com/office/officeart/2005/8/layout/hierarchy4"/>
    <dgm:cxn modelId="{DE90E058-4621-492F-92A0-B7E051FFBA9E}" type="presParOf" srcId="{9BBC1119-5AAD-4AB8-BB31-67BC6176C1E9}" destId="{3E6C5E6B-8846-4FD2-BA31-512B64F11DE9}" srcOrd="4" destOrd="0" presId="urn:microsoft.com/office/officeart/2005/8/layout/hierarchy4"/>
    <dgm:cxn modelId="{A625E3EB-9341-425D-A63F-72C0187B98B5}" type="presParOf" srcId="{3E6C5E6B-8846-4FD2-BA31-512B64F11DE9}" destId="{277BC6D9-E3F2-464B-B205-8C2E6073561A}" srcOrd="0" destOrd="0" presId="urn:microsoft.com/office/officeart/2005/8/layout/hierarchy4"/>
    <dgm:cxn modelId="{D1C1D542-ABBD-4E00-A276-688EB9A0E437}" type="presParOf" srcId="{3E6C5E6B-8846-4FD2-BA31-512B64F11DE9}" destId="{D45D4001-CA5A-4183-801B-6DA942CD8AD6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741090-657C-498A-B5BA-ECA520E17FFB}">
      <dsp:nvSpPr>
        <dsp:cNvPr id="0" name=""/>
        <dsp:cNvSpPr/>
      </dsp:nvSpPr>
      <dsp:spPr>
        <a:xfrm>
          <a:off x="5704" y="196"/>
          <a:ext cx="7947589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/>
            <a:t>16 716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/>
            <a:t>SME/AGRO revision</a:t>
          </a:r>
        </a:p>
      </dsp:txBody>
      <dsp:txXfrm>
        <a:off x="30531" y="25023"/>
        <a:ext cx="7897935" cy="797993"/>
      </dsp:txXfrm>
    </dsp:sp>
    <dsp:sp modelId="{352E19D0-2321-4F45-AAC3-46A7DB1E9B3A}">
      <dsp:nvSpPr>
        <dsp:cNvPr id="0" name=""/>
        <dsp:cNvSpPr/>
      </dsp:nvSpPr>
      <dsp:spPr>
        <a:xfrm>
          <a:off x="13462" y="950020"/>
          <a:ext cx="4466987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/>
            <a:t>11 942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/>
            <a:t>JDG/RI</a:t>
          </a:r>
        </a:p>
      </dsp:txBody>
      <dsp:txXfrm>
        <a:off x="38289" y="974847"/>
        <a:ext cx="4417333" cy="797993"/>
      </dsp:txXfrm>
    </dsp:sp>
    <dsp:sp modelId="{467E78AA-5DFC-407A-96D1-72F9D1ABDE6C}">
      <dsp:nvSpPr>
        <dsp:cNvPr id="0" name=""/>
        <dsp:cNvSpPr/>
      </dsp:nvSpPr>
      <dsp:spPr>
        <a:xfrm>
          <a:off x="13462" y="1899845"/>
          <a:ext cx="2210524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/>
            <a:t>5 148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/>
            <a:t>Retail network</a:t>
          </a:r>
        </a:p>
      </dsp:txBody>
      <dsp:txXfrm>
        <a:off x="38289" y="1924672"/>
        <a:ext cx="2160870" cy="797993"/>
      </dsp:txXfrm>
    </dsp:sp>
    <dsp:sp modelId="{46EAE02E-BDB4-4878-8776-75E40840CC07}">
      <dsp:nvSpPr>
        <dsp:cNvPr id="0" name=""/>
        <dsp:cNvSpPr/>
      </dsp:nvSpPr>
      <dsp:spPr>
        <a:xfrm>
          <a:off x="13462" y="2849670"/>
          <a:ext cx="1093777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000" b="1" kern="1200" dirty="0">
              <a:solidFill>
                <a:schemeClr val="accent6">
                  <a:lumMod val="40000"/>
                  <a:lumOff val="60000"/>
                </a:schemeClr>
              </a:solidFill>
            </a:rPr>
            <a:t>1 059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000" kern="1200" dirty="0"/>
            <a:t>JDG with account rep. - manual revision required</a:t>
          </a:r>
        </a:p>
      </dsp:txBody>
      <dsp:txXfrm>
        <a:off x="38289" y="2874497"/>
        <a:ext cx="1044123" cy="797993"/>
      </dsp:txXfrm>
    </dsp:sp>
    <dsp:sp modelId="{2CE0D21C-4AD0-4CEF-8D46-C612ED8AB1E8}">
      <dsp:nvSpPr>
        <dsp:cNvPr id="0" name=""/>
        <dsp:cNvSpPr/>
      </dsp:nvSpPr>
      <dsp:spPr>
        <a:xfrm>
          <a:off x="1130209" y="2849670"/>
          <a:ext cx="1093777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000" b="1" kern="1200" dirty="0">
              <a:solidFill>
                <a:schemeClr val="bg2">
                  <a:lumMod val="60000"/>
                  <a:lumOff val="40000"/>
                </a:schemeClr>
              </a:solidFill>
            </a:rPr>
            <a:t>4 089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000" kern="1200" dirty="0"/>
            <a:t>JDG w/o account rep. - </a:t>
          </a:r>
          <a:r>
            <a:rPr lang="pl-PL" sz="1000" kern="1200" dirty="0" err="1"/>
            <a:t>remote</a:t>
          </a:r>
          <a:r>
            <a:rPr lang="pl-PL" sz="1000" kern="1200" dirty="0"/>
            <a:t> revision in </a:t>
          </a:r>
          <a:r>
            <a:rPr lang="pl-PL" sz="1000" kern="1200" dirty="0" err="1"/>
            <a:t>eBank</a:t>
          </a:r>
          <a:r>
            <a:rPr lang="pl-PL" sz="1000" kern="1200" dirty="0"/>
            <a:t> </a:t>
          </a:r>
        </a:p>
      </dsp:txBody>
      <dsp:txXfrm>
        <a:off x="1155036" y="2874497"/>
        <a:ext cx="1044123" cy="797993"/>
      </dsp:txXfrm>
    </dsp:sp>
    <dsp:sp modelId="{E1AFE2D3-E8C7-4351-BEA9-2D3EDA7B9634}">
      <dsp:nvSpPr>
        <dsp:cNvPr id="0" name=""/>
        <dsp:cNvSpPr/>
      </dsp:nvSpPr>
      <dsp:spPr>
        <a:xfrm>
          <a:off x="2269925" y="1899845"/>
          <a:ext cx="2210524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b="1" kern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6 794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SME/AGRO network</a:t>
          </a:r>
        </a:p>
      </dsp:txBody>
      <dsp:txXfrm>
        <a:off x="2294752" y="1924672"/>
        <a:ext cx="2160870" cy="797993"/>
      </dsp:txXfrm>
    </dsp:sp>
    <dsp:sp modelId="{5E27A873-BDEF-4108-BE97-11C69C7BBE91}">
      <dsp:nvSpPr>
        <dsp:cNvPr id="0" name=""/>
        <dsp:cNvSpPr/>
      </dsp:nvSpPr>
      <dsp:spPr>
        <a:xfrm>
          <a:off x="2269925" y="2849670"/>
          <a:ext cx="1093777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b="1" kern="1200" dirty="0">
              <a:solidFill>
                <a:schemeClr val="accent6">
                  <a:lumMod val="40000"/>
                  <a:lumOff val="60000"/>
                </a:schemeClr>
              </a:solidFill>
            </a:rPr>
            <a:t>1 831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900" kern="1200" dirty="0"/>
            <a:t>JDG/RI with account rep. - manual revision required</a:t>
          </a:r>
        </a:p>
      </dsp:txBody>
      <dsp:txXfrm>
        <a:off x="2294752" y="2874497"/>
        <a:ext cx="1044123" cy="797993"/>
      </dsp:txXfrm>
    </dsp:sp>
    <dsp:sp modelId="{F994729D-3402-4F60-B241-9DD08E282716}">
      <dsp:nvSpPr>
        <dsp:cNvPr id="0" name=""/>
        <dsp:cNvSpPr/>
      </dsp:nvSpPr>
      <dsp:spPr>
        <a:xfrm>
          <a:off x="3386672" y="2849670"/>
          <a:ext cx="1093777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b="1" kern="1200" dirty="0">
              <a:solidFill>
                <a:schemeClr val="bg2">
                  <a:lumMod val="60000"/>
                  <a:lumOff val="40000"/>
                </a:schemeClr>
              </a:solidFill>
            </a:rPr>
            <a:t>4 963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900" kern="1200" dirty="0"/>
            <a:t>JDG w/o account rep. - </a:t>
          </a:r>
          <a:r>
            <a:rPr lang="pl-PL" sz="900" kern="1200" dirty="0" err="1"/>
            <a:t>remote</a:t>
          </a:r>
          <a:r>
            <a:rPr lang="pl-PL" sz="900" kern="1200" dirty="0"/>
            <a:t> revision in </a:t>
          </a:r>
          <a:r>
            <a:rPr lang="pl-PL" sz="900" kern="1200" dirty="0" err="1"/>
            <a:t>eBank</a:t>
          </a:r>
          <a:r>
            <a:rPr lang="pl-PL" sz="900" kern="1200" dirty="0"/>
            <a:t> </a:t>
          </a:r>
        </a:p>
      </dsp:txBody>
      <dsp:txXfrm>
        <a:off x="3411499" y="2874497"/>
        <a:ext cx="1044123" cy="797993"/>
      </dsp:txXfrm>
    </dsp:sp>
    <dsp:sp modelId="{ACED064E-AFC5-4DA9-B713-28E6B828108B}">
      <dsp:nvSpPr>
        <dsp:cNvPr id="0" name=""/>
        <dsp:cNvSpPr/>
      </dsp:nvSpPr>
      <dsp:spPr>
        <a:xfrm>
          <a:off x="4640853" y="950020"/>
          <a:ext cx="3236156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solidFill>
                <a:schemeClr val="accent6">
                  <a:lumMod val="40000"/>
                  <a:lumOff val="6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4 774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ompanies and other forms</a:t>
          </a:r>
        </a:p>
      </dsp:txBody>
      <dsp:txXfrm>
        <a:off x="4665680" y="974847"/>
        <a:ext cx="3186502" cy="797993"/>
      </dsp:txXfrm>
    </dsp:sp>
    <dsp:sp modelId="{8540A6FD-446E-413B-A633-EEA25E90D93D}">
      <dsp:nvSpPr>
        <dsp:cNvPr id="0" name=""/>
        <dsp:cNvSpPr/>
      </dsp:nvSpPr>
      <dsp:spPr>
        <a:xfrm>
          <a:off x="4659325" y="2835063"/>
          <a:ext cx="1093777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000" b="1" kern="1200" dirty="0">
              <a:solidFill>
                <a:schemeClr val="accent6">
                  <a:lumMod val="40000"/>
                  <a:lumOff val="60000"/>
                </a:schemeClr>
              </a:solidFill>
            </a:rPr>
            <a:t>1 300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000" kern="1200" dirty="0"/>
            <a:t>TOP 20 NBI per DKB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000" kern="1200" dirty="0"/>
            <a:t>- manual revision required</a:t>
          </a:r>
        </a:p>
      </dsp:txBody>
      <dsp:txXfrm>
        <a:off x="4684152" y="2859890"/>
        <a:ext cx="1044123" cy="797993"/>
      </dsp:txXfrm>
    </dsp:sp>
    <dsp:sp modelId="{6479893C-F7C5-4EC7-976D-A46B8B9DED63}">
      <dsp:nvSpPr>
        <dsp:cNvPr id="0" name=""/>
        <dsp:cNvSpPr/>
      </dsp:nvSpPr>
      <dsp:spPr>
        <a:xfrm>
          <a:off x="5756690" y="2839997"/>
          <a:ext cx="1093777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000" b="1" kern="1200" dirty="0">
              <a:solidFill>
                <a:schemeClr val="accent6">
                  <a:lumMod val="40000"/>
                  <a:lumOff val="60000"/>
                </a:schemeClr>
              </a:solidFill>
            </a:rPr>
            <a:t>2 424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600" kern="1200" dirty="0"/>
            <a:t>E&amp;Y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600" kern="1200" dirty="0"/>
            <a:t>(cost …)</a:t>
          </a:r>
        </a:p>
      </dsp:txBody>
      <dsp:txXfrm>
        <a:off x="5781517" y="2864824"/>
        <a:ext cx="1044123" cy="797993"/>
      </dsp:txXfrm>
    </dsp:sp>
    <dsp:sp modelId="{277BC6D9-E3F2-464B-B205-8C2E6073561A}">
      <dsp:nvSpPr>
        <dsp:cNvPr id="0" name=""/>
        <dsp:cNvSpPr/>
      </dsp:nvSpPr>
      <dsp:spPr>
        <a:xfrm>
          <a:off x="6856691" y="2847134"/>
          <a:ext cx="1093777" cy="8476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000" b="1" kern="1200" dirty="0">
              <a:solidFill>
                <a:schemeClr val="accent6">
                  <a:lumMod val="40000"/>
                  <a:lumOff val="60000"/>
                </a:schemeClr>
              </a:solidFill>
            </a:rPr>
            <a:t>1 050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clients with a bailiff's seizure of their account, inactive more than 1 years (only communication without active actions of the advisor)</a:t>
          </a:r>
          <a:endParaRPr lang="pl-PL" sz="600" kern="1200" dirty="0"/>
        </a:p>
      </dsp:txBody>
      <dsp:txXfrm>
        <a:off x="6881518" y="2871961"/>
        <a:ext cx="1044123" cy="7979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57DF19DA-28EE-4BAF-8855-22147C33D3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0997A3-E316-4CCD-9CCD-0007F0672E43}" type="slidenum">
              <a:rPr lang="pl-PL" smtClean="0"/>
              <a:t>‹#›</a:t>
            </a:fld>
            <a:endParaRPr lang="pl-PL" dirty="0"/>
          </a:p>
        </p:txBody>
      </p:sp>
      <p:sp>
        <p:nvSpPr>
          <p:cNvPr id="6" name="Symbol zastępczy daty 5">
            <a:extLst>
              <a:ext uri="{FF2B5EF4-FFF2-40B4-BE49-F238E27FC236}">
                <a16:creationId xmlns:a16="http://schemas.microsoft.com/office/drawing/2014/main" id="{BCC76C1D-F59D-A218-5454-C0B0DF8538D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61496A-E09F-4F27-A682-CED6D3063804}" type="datetime1">
              <a:rPr lang="pl-PL" smtClean="0"/>
              <a:t>11.03.2026</a:t>
            </a:fld>
            <a:endParaRPr lang="pl-PL"/>
          </a:p>
        </p:txBody>
      </p:sp>
      <p:sp>
        <p:nvSpPr>
          <p:cNvPr id="7" name="Symbol zastępczy nagłówka 6">
            <a:extLst>
              <a:ext uri="{FF2B5EF4-FFF2-40B4-BE49-F238E27FC236}">
                <a16:creationId xmlns:a16="http://schemas.microsoft.com/office/drawing/2014/main" id="{17BF00BA-FFAB-E438-34F2-82604968A0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8" name="Symbol zastępczy stopki 7">
            <a:extLst>
              <a:ext uri="{FF2B5EF4-FFF2-40B4-BE49-F238E27FC236}">
                <a16:creationId xmlns:a16="http://schemas.microsoft.com/office/drawing/2014/main" id="{17CEC3F3-AEEB-3DC9-F4F0-2F933FBE5B3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6338376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C913F-A3F7-4BCC-8EFE-3CAAB4D26373}" type="datetime1">
              <a:rPr lang="pl-PL" smtClean="0"/>
              <a:t>11.03.2026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2E7C31-7687-4939-8BE1-3CC3DF306400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528846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66191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a tytułowa ze zdjęcie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10548" y="1771010"/>
            <a:ext cx="4181500" cy="108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1" cap="all" baseline="0">
                <a:solidFill>
                  <a:srgbClr val="009597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4710548" y="3461639"/>
            <a:ext cx="3748254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100" b="0">
                <a:ln>
                  <a:noFill/>
                </a:ln>
                <a:solidFill>
                  <a:srgbClr val="009597"/>
                </a:solidFill>
                <a:latin typeface="+mj-lt"/>
              </a:defRPr>
            </a:lvl1pPr>
            <a:lvl2pPr marL="432000" indent="0">
              <a:buFontTx/>
              <a:buNone/>
              <a:defRPr sz="1200"/>
            </a:lvl2pPr>
            <a:lvl3pPr marL="864000" indent="0">
              <a:buFontTx/>
              <a:buNone/>
              <a:defRPr sz="1200"/>
            </a:lvl3pPr>
            <a:lvl4pPr marL="1296000" indent="0">
              <a:buFontTx/>
              <a:buNone/>
              <a:defRPr sz="1200"/>
            </a:lvl4pPr>
            <a:lvl5pPr marL="1728000" indent="0">
              <a:buFontTx/>
              <a:buNone/>
              <a:defRPr sz="12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10" name="Symbol zastępczy obrazu 9">
            <a:extLst>
              <a:ext uri="{FF2B5EF4-FFF2-40B4-BE49-F238E27FC236}">
                <a16:creationId xmlns:a16="http://schemas.microsoft.com/office/drawing/2014/main" id="{71BB64A8-5201-560B-036C-DD2C167D124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954" y="591728"/>
            <a:ext cx="3912317" cy="388409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pl-PL" noProof="0" dirty="0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19EA351-D5B5-7F01-11D2-2725DC11DB3F}"/>
              </a:ext>
            </a:extLst>
          </p:cNvPr>
          <p:cNvSpPr txBox="1"/>
          <p:nvPr userDrawn="1"/>
        </p:nvSpPr>
        <p:spPr>
          <a:xfrm>
            <a:off x="6552023" y="141723"/>
            <a:ext cx="2340026" cy="5411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950" b="1" i="0" u="none" strike="noStrike" cap="none" spc="0" normalizeH="0" baseline="0" dirty="0">
              <a:ln>
                <a:noFill/>
              </a:ln>
              <a:solidFill>
                <a:srgbClr val="009597"/>
              </a:solidFill>
              <a:effectLst/>
              <a:uFillTx/>
              <a:latin typeface="+mj-lt"/>
              <a:sym typeface="Helvetica Neue Medium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4E2A0DB4-C391-F51E-8244-4C5C553553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2030" y="4281769"/>
            <a:ext cx="1706135" cy="85288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8"/>
            <a:ext cx="3698260" cy="2809982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3" y="1093242"/>
            <a:ext cx="3698765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4524375" y="1090613"/>
            <a:ext cx="4295775" cy="319115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814CC9E-C65F-165E-0604-3A6392D28D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332594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5121890" y="1471788"/>
            <a:ext cx="3698260" cy="2899982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5121385" y="1093242"/>
            <a:ext cx="3698765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708078" y="1090612"/>
            <a:ext cx="4133925" cy="3281157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EBCA5C9C-CE6F-B4C4-7578-B6C3BC9C61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49919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529289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6345" y="3941618"/>
            <a:ext cx="5964382" cy="81741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3272" y="3955473"/>
            <a:ext cx="5971309" cy="80356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pour une image  15"/>
          <p:cNvSpPr>
            <a:spLocks noGrp="1"/>
          </p:cNvSpPr>
          <p:nvPr>
            <p:ph type="pic" sz="quarter" idx="19" hasCustomPrompt="1"/>
          </p:nvPr>
        </p:nvSpPr>
        <p:spPr>
          <a:xfrm>
            <a:off x="255600" y="244800"/>
            <a:ext cx="8892000" cy="4392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tIns="1260000" anchor="t">
            <a:noAutofit/>
          </a:bodyPr>
          <a:lstStyle>
            <a:lvl1pPr marL="0" indent="0" algn="ctr">
              <a:buFontTx/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pl-PL" noProof="0"/>
              <a:t>Kliknij ikonę, aby dodać zdjęcie tła</a:t>
            </a:r>
            <a:br>
              <a:rPr lang="pl-PL" noProof="0"/>
            </a:br>
            <a:r>
              <a:rPr lang="pl-PL" noProof="0"/>
              <a:t>(Wybierz obraz prawym przyciskiem myszy / Ustaw jako tło)</a:t>
            </a:r>
          </a:p>
        </p:txBody>
      </p:sp>
      <p:sp>
        <p:nvSpPr>
          <p:cNvPr id="19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4212000" y="0"/>
            <a:ext cx="720000" cy="61753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25" name="Obraz 24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3675" y="4711308"/>
            <a:ext cx="1139416" cy="360040"/>
          </a:xfrm>
          <a:prstGeom prst="rect">
            <a:avLst/>
          </a:prstGeom>
        </p:spPr>
      </p:pic>
      <p:sp>
        <p:nvSpPr>
          <p:cNvPr id="37" name="Rectangle 9"/>
          <p:cNvSpPr/>
          <p:nvPr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39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40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681183" y="2984662"/>
            <a:ext cx="7316490" cy="108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4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07818" y="3219822"/>
            <a:ext cx="144000" cy="684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1681183" y="4066265"/>
            <a:ext cx="7316490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9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32000" indent="0">
              <a:buFontTx/>
              <a:buNone/>
              <a:defRPr sz="1200"/>
            </a:lvl2pPr>
            <a:lvl3pPr marL="864000" indent="0">
              <a:buFontTx/>
              <a:buNone/>
              <a:defRPr sz="1200"/>
            </a:lvl3pPr>
            <a:lvl4pPr marL="1296000" indent="0">
              <a:buFontTx/>
              <a:buNone/>
              <a:defRPr sz="1200"/>
            </a:lvl4pPr>
            <a:lvl5pPr marL="1728000" indent="0">
              <a:buFontTx/>
              <a:buNone/>
              <a:defRPr sz="12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3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1681183" y="4198788"/>
            <a:ext cx="7316490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dirty="0" smtClean="0"/>
            </a:lvl2pPr>
            <a:lvl3pPr>
              <a:defRPr lang="pl-PL" sz="1200" dirty="0" smtClean="0"/>
            </a:lvl3pPr>
            <a:lvl4pPr>
              <a:defRPr lang="pl-PL" sz="1200" dirty="0" smtClean="0"/>
            </a:lvl4pPr>
            <a:lvl5pPr>
              <a:defRPr lang="pl-PL" sz="12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4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1681183" y="4331209"/>
            <a:ext cx="7316489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smtClean="0"/>
            </a:lvl2pPr>
            <a:lvl3pPr>
              <a:defRPr lang="pl-PL" sz="1200" smtClean="0"/>
            </a:lvl3pPr>
            <a:lvl4pPr>
              <a:defRPr lang="pl-PL" sz="1200" smtClean="0"/>
            </a:lvl4pPr>
            <a:lvl5pPr>
              <a:defRPr lang="pl-PL" sz="12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5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1681183" y="4462070"/>
            <a:ext cx="7316490" cy="126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9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7" name="Rectangle 9"/>
          <p:cNvSpPr/>
          <p:nvPr userDrawn="1"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92784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255600" y="244800"/>
            <a:ext cx="8892000" cy="4392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323851" y="250033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7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323851" y="250033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7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4212000" y="0"/>
            <a:ext cx="720000" cy="61753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681182" y="2984661"/>
            <a:ext cx="7316490" cy="107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YTUŁ PREZENTACJI </a:t>
            </a:r>
            <a:br>
              <a:rPr lang="fr-FR" noProof="0" dirty="0"/>
            </a:br>
            <a:r>
              <a:rPr lang="fr-FR" noProof="0" dirty="0"/>
              <a:t>– SLAJD BEZ ZDJĘCIA 1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07818" y="3219822"/>
            <a:ext cx="144000" cy="684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31" name="Obraz 30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3675" y="4711308"/>
            <a:ext cx="1139416" cy="360040"/>
          </a:xfrm>
          <a:prstGeom prst="rect">
            <a:avLst/>
          </a:prstGeom>
        </p:spPr>
      </p:pic>
      <p:sp>
        <p:nvSpPr>
          <p:cNvPr id="36" name="Rectangle 9"/>
          <p:cNvSpPr/>
          <p:nvPr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38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1681183" y="4066265"/>
            <a:ext cx="7316490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9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32000" indent="0">
              <a:buFontTx/>
              <a:buNone/>
              <a:defRPr sz="1200"/>
            </a:lvl2pPr>
            <a:lvl3pPr marL="864000" indent="0">
              <a:buFontTx/>
              <a:buNone/>
              <a:defRPr sz="1200"/>
            </a:lvl3pPr>
            <a:lvl4pPr marL="1296000" indent="0">
              <a:buFontTx/>
              <a:buNone/>
              <a:defRPr sz="1200"/>
            </a:lvl4pPr>
            <a:lvl5pPr marL="1728000" indent="0">
              <a:buFontTx/>
              <a:buNone/>
              <a:defRPr sz="12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1681183" y="4198788"/>
            <a:ext cx="7316490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dirty="0" smtClean="0"/>
            </a:lvl2pPr>
            <a:lvl3pPr>
              <a:defRPr lang="pl-PL" sz="1200" dirty="0" smtClean="0"/>
            </a:lvl3pPr>
            <a:lvl4pPr>
              <a:defRPr lang="pl-PL" sz="1200" dirty="0" smtClean="0"/>
            </a:lvl4pPr>
            <a:lvl5pPr>
              <a:defRPr lang="pl-PL" sz="12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1681183" y="4331209"/>
            <a:ext cx="7316489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smtClean="0"/>
            </a:lvl2pPr>
            <a:lvl3pPr>
              <a:defRPr lang="pl-PL" sz="1200" smtClean="0"/>
            </a:lvl3pPr>
            <a:lvl4pPr>
              <a:defRPr lang="pl-PL" sz="1200" smtClean="0"/>
            </a:lvl4pPr>
            <a:lvl5pPr>
              <a:defRPr lang="pl-PL" sz="12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7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1681183" y="4462070"/>
            <a:ext cx="7316490" cy="126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9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9" name="Forme libre 16"/>
          <p:cNvSpPr/>
          <p:nvPr userDrawn="1"/>
        </p:nvSpPr>
        <p:spPr bwMode="gray">
          <a:xfrm>
            <a:off x="323851" y="250033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7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Rectangle 9"/>
          <p:cNvSpPr/>
          <p:nvPr userDrawn="1"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8692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255600" y="244800"/>
            <a:ext cx="8892000" cy="4392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323851" y="250033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7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323851" y="250033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7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4212000" y="0"/>
            <a:ext cx="720000" cy="61753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681182" y="2984661"/>
            <a:ext cx="7316490" cy="107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</a:t>
            </a:r>
            <a:br>
              <a:rPr lang="pl-PL" noProof="0" dirty="0"/>
            </a:br>
            <a:r>
              <a:rPr lang="pl-PL" noProof="0" dirty="0"/>
              <a:t>– Slajd bez zdjęcia 2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07818" y="3219822"/>
            <a:ext cx="144000" cy="684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7" name="Obraz 16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3675" y="4711308"/>
            <a:ext cx="1139416" cy="360040"/>
          </a:xfrm>
          <a:prstGeom prst="rect">
            <a:avLst/>
          </a:prstGeom>
        </p:spPr>
      </p:pic>
      <p:sp>
        <p:nvSpPr>
          <p:cNvPr id="28" name="Rectangle 9"/>
          <p:cNvSpPr/>
          <p:nvPr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32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3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1681183" y="4066265"/>
            <a:ext cx="7316490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9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32000" indent="0">
              <a:buFontTx/>
              <a:buNone/>
              <a:defRPr sz="1200"/>
            </a:lvl2pPr>
            <a:lvl3pPr marL="864000" indent="0">
              <a:buFontTx/>
              <a:buNone/>
              <a:defRPr sz="1200"/>
            </a:lvl3pPr>
            <a:lvl4pPr marL="1296000" indent="0">
              <a:buFontTx/>
              <a:buNone/>
              <a:defRPr sz="1200"/>
            </a:lvl4pPr>
            <a:lvl5pPr marL="1728000" indent="0">
              <a:buFontTx/>
              <a:buNone/>
              <a:defRPr sz="12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1681183" y="4198788"/>
            <a:ext cx="7316490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dirty="0" smtClean="0"/>
            </a:lvl2pPr>
            <a:lvl3pPr>
              <a:defRPr lang="pl-PL" sz="1200" dirty="0" smtClean="0"/>
            </a:lvl3pPr>
            <a:lvl4pPr>
              <a:defRPr lang="pl-PL" sz="1200" dirty="0" smtClean="0"/>
            </a:lvl4pPr>
            <a:lvl5pPr>
              <a:defRPr lang="pl-PL" sz="12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1681183" y="4331209"/>
            <a:ext cx="7316489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smtClean="0"/>
            </a:lvl2pPr>
            <a:lvl3pPr>
              <a:defRPr lang="pl-PL" sz="1200" smtClean="0"/>
            </a:lvl3pPr>
            <a:lvl4pPr>
              <a:defRPr lang="pl-PL" sz="1200" smtClean="0"/>
            </a:lvl4pPr>
            <a:lvl5pPr>
              <a:defRPr lang="pl-PL" sz="12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8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1681183" y="4462070"/>
            <a:ext cx="7316490" cy="126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9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21" name="Forme libre 16"/>
          <p:cNvSpPr/>
          <p:nvPr userDrawn="1"/>
        </p:nvSpPr>
        <p:spPr bwMode="gray">
          <a:xfrm>
            <a:off x="323851" y="250033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7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Rectangle 9"/>
          <p:cNvSpPr/>
          <p:nvPr userDrawn="1"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14501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6"/>
          <p:cNvSpPr/>
          <p:nvPr/>
        </p:nvSpPr>
        <p:spPr>
          <a:xfrm>
            <a:off x="255600" y="244800"/>
            <a:ext cx="8892000" cy="4392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840183" y="385764"/>
            <a:ext cx="5862374" cy="4133850"/>
          </a:xfrm>
        </p:spPr>
        <p:txBody>
          <a:bodyPr anchor="ctr" anchorCtr="0"/>
          <a:lstStyle>
            <a:lvl1pPr>
              <a:defRPr sz="2800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3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76960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3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50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222375"/>
            <a:ext cx="8126412" cy="3328988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9078664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ona tytułowa bez zdjęcia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41953" y="1671740"/>
            <a:ext cx="4770053" cy="108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bez zdjęcia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341953" y="3651762"/>
            <a:ext cx="3748254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1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32000" indent="0">
              <a:buFontTx/>
              <a:buNone/>
              <a:defRPr sz="1200"/>
            </a:lvl2pPr>
            <a:lvl3pPr marL="864000" indent="0">
              <a:buFontTx/>
              <a:buNone/>
              <a:defRPr sz="1200"/>
            </a:lvl3pPr>
            <a:lvl4pPr marL="1296000" indent="0">
              <a:buFontTx/>
              <a:buNone/>
              <a:defRPr sz="1200"/>
            </a:lvl4pPr>
            <a:lvl5pPr marL="1728000" indent="0">
              <a:buFontTx/>
              <a:buNone/>
              <a:defRPr sz="12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F89DDC0A-C8A3-D16B-6C20-24F73F60C148}"/>
              </a:ext>
            </a:extLst>
          </p:cNvPr>
          <p:cNvSpPr/>
          <p:nvPr userDrawn="1"/>
        </p:nvSpPr>
        <p:spPr>
          <a:xfrm>
            <a:off x="8532044" y="4692837"/>
            <a:ext cx="540006" cy="4117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79354D9-10E9-75FC-A7C3-07B26F2F4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2504" y="4198268"/>
            <a:ext cx="1990001" cy="995898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8ACB1BDD-6445-8BEB-AF5D-6D12348970EE}"/>
              </a:ext>
            </a:extLst>
          </p:cNvPr>
          <p:cNvSpPr txBox="1"/>
          <p:nvPr userDrawn="1"/>
        </p:nvSpPr>
        <p:spPr>
          <a:xfrm>
            <a:off x="6552023" y="141723"/>
            <a:ext cx="2340026" cy="5411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95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4092266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3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186"/>
            <a:ext cx="8118475" cy="9715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581739"/>
            <a:ext cx="8126412" cy="2969624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25323906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3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8126412" cy="3079575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3" y="1093242"/>
            <a:ext cx="8101013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0159085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3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8126412" cy="3079575"/>
          </a:xfrm>
        </p:spPr>
        <p:txBody>
          <a:bodyPr numCol="2" spcCol="180000"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3" y="1093242"/>
            <a:ext cx="8101013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811727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3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3968264" cy="3079575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4" y="1093242"/>
            <a:ext cx="3968768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4848322" y="1471787"/>
            <a:ext cx="3968264" cy="3079575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4847818" y="1093242"/>
            <a:ext cx="3968768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1502489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3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50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4507" y="1547848"/>
            <a:ext cx="292574" cy="1282822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1677988" y="1547813"/>
            <a:ext cx="7124700" cy="1282700"/>
          </a:xfrm>
        </p:spPr>
        <p:txBody>
          <a:bodyPr/>
          <a:lstStyle>
            <a:lvl1pPr marL="0" indent="0">
              <a:buNone/>
              <a:defRPr sz="2800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1677448" y="3308521"/>
            <a:ext cx="7092950" cy="88265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172127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3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8"/>
            <a:ext cx="3698260" cy="2809982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3" y="1093242"/>
            <a:ext cx="3698765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4524375" y="1090613"/>
            <a:ext cx="4295775" cy="319115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15498727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3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5121890" y="1471788"/>
            <a:ext cx="3698260" cy="2899982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5121385" y="1093242"/>
            <a:ext cx="3698765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708078" y="1090612"/>
            <a:ext cx="4133925" cy="3281157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7524715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6345" y="3941618"/>
            <a:ext cx="5964382" cy="817418"/>
          </a:xfrm>
          <a:prstGeom prst="rect">
            <a:avLst/>
          </a:prstGeom>
        </p:spPr>
      </p:pic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31787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3272" y="3955473"/>
            <a:ext cx="5971309" cy="803564"/>
          </a:xfrm>
          <a:prstGeom prst="rect">
            <a:avLst/>
          </a:prstGeom>
        </p:spPr>
      </p:pic>
      <p:sp>
        <p:nvSpPr>
          <p:cNvPr id="13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89848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661F7-EBD4-4635-AE34-3CA7196C9DD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75807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21955" y="504825"/>
            <a:ext cx="5862374" cy="4133850"/>
          </a:xfrm>
        </p:spPr>
        <p:txBody>
          <a:bodyPr anchor="ctr" anchorCtr="0"/>
          <a:lstStyle>
            <a:lvl1pPr>
              <a:defRPr sz="2800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E1D126D6-0B64-6919-8837-ED74CA354962}"/>
              </a:ext>
            </a:extLst>
          </p:cNvPr>
          <p:cNvSpPr/>
          <p:nvPr userDrawn="1"/>
        </p:nvSpPr>
        <p:spPr>
          <a:xfrm>
            <a:off x="8532044" y="4731774"/>
            <a:ext cx="540006" cy="3600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4 - l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 34" descr="logo_gauche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4149" y="4782324"/>
            <a:ext cx="335038" cy="231631"/>
          </a:xfrm>
          <a:prstGeom prst="rect">
            <a:avLst/>
          </a:prstGeom>
        </p:spPr>
      </p:pic>
      <p:sp>
        <p:nvSpPr>
          <p:cNvPr id="2" name="Espace réservé de la date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4E47072-D39A-43DD-AD45-94D0F38DCC16}" type="slidenum">
              <a:rPr lang="fr-FR" smtClean="0"/>
              <a:t>‹#›</a:t>
            </a:fld>
            <a:endParaRPr lang="fr-FR"/>
          </a:p>
        </p:txBody>
      </p:sp>
      <p:cxnSp>
        <p:nvCxnSpPr>
          <p:cNvPr id="59" name="Connecteur droit 58"/>
          <p:cNvCxnSpPr/>
          <p:nvPr userDrawn="1"/>
        </p:nvCxnSpPr>
        <p:spPr>
          <a:xfrm>
            <a:off x="1556954" y="4828131"/>
            <a:ext cx="0" cy="152106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731044" y="1003434"/>
            <a:ext cx="7823394" cy="3522846"/>
          </a:xfrm>
        </p:spPr>
        <p:txBody>
          <a:bodyPr>
            <a:normAutofit/>
          </a:bodyPr>
          <a:lstStyle>
            <a:lvl1pPr>
              <a:spcAft>
                <a:spcPts val="375"/>
              </a:spcAft>
              <a:defRPr sz="1050" b="1">
                <a:solidFill>
                  <a:srgbClr val="0E9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39329" indent="-171450">
              <a:lnSpc>
                <a:spcPct val="100000"/>
              </a:lnSpc>
              <a:spcAft>
                <a:spcPts val="375"/>
              </a:spcAft>
              <a:defRPr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41735" indent="-171450">
              <a:lnSpc>
                <a:spcPct val="100000"/>
              </a:lnSpc>
              <a:defRPr sz="90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5806" indent="-171450">
              <a:lnSpc>
                <a:spcPct val="100000"/>
              </a:lnSpc>
              <a:defRPr sz="90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38213" indent="-171450">
              <a:lnSpc>
                <a:spcPct val="100000"/>
              </a:lnSpc>
              <a:defRPr sz="90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731044" y="340369"/>
            <a:ext cx="7823393" cy="511969"/>
          </a:xfrm>
        </p:spPr>
        <p:txBody>
          <a:bodyPr/>
          <a:lstStyle>
            <a:lvl1pPr marL="0" indent="0">
              <a:buNone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lkllklklk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830632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pour une image  15"/>
          <p:cNvSpPr>
            <a:spLocks noGrp="1"/>
          </p:cNvSpPr>
          <p:nvPr>
            <p:ph type="pic" sz="quarter" idx="19" hasCustomPrompt="1"/>
          </p:nvPr>
        </p:nvSpPr>
        <p:spPr>
          <a:xfrm>
            <a:off x="255600" y="244800"/>
            <a:ext cx="8892000" cy="4392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tIns="1260000" anchor="t">
            <a:noAutofit/>
          </a:bodyPr>
          <a:lstStyle>
            <a:lvl1pPr marL="0" indent="0" algn="ctr">
              <a:buFontTx/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pl-PL" noProof="0"/>
              <a:t>Kliknij ikonę, aby dodać zdjęcie tła</a:t>
            </a:r>
            <a:br>
              <a:rPr lang="pl-PL" noProof="0"/>
            </a:br>
            <a:r>
              <a:rPr lang="pl-PL" noProof="0"/>
              <a:t>(Wybierz obraz prawym przyciskiem myszy / Ustaw jako tło)</a:t>
            </a:r>
          </a:p>
        </p:txBody>
      </p:sp>
      <p:sp>
        <p:nvSpPr>
          <p:cNvPr id="19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4212000" y="1"/>
            <a:ext cx="720000" cy="61753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25" name="Obraz 24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3676" y="4711308"/>
            <a:ext cx="1139416" cy="360040"/>
          </a:xfrm>
          <a:prstGeom prst="rect">
            <a:avLst/>
          </a:prstGeom>
        </p:spPr>
      </p:pic>
      <p:sp>
        <p:nvSpPr>
          <p:cNvPr id="37" name="Rectangle 9"/>
          <p:cNvSpPr/>
          <p:nvPr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8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39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40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681183" y="2984662"/>
            <a:ext cx="7316490" cy="108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4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07818" y="3219822"/>
            <a:ext cx="144000" cy="684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1681183" y="4066265"/>
            <a:ext cx="7316490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9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31990" indent="0">
              <a:buFontTx/>
              <a:buNone/>
              <a:defRPr sz="1200"/>
            </a:lvl2pPr>
            <a:lvl3pPr marL="863978" indent="0">
              <a:buFontTx/>
              <a:buNone/>
              <a:defRPr sz="1200"/>
            </a:lvl3pPr>
            <a:lvl4pPr marL="1295968" indent="0">
              <a:buFontTx/>
              <a:buNone/>
              <a:defRPr sz="1200"/>
            </a:lvl4pPr>
            <a:lvl5pPr marL="1727957" indent="0">
              <a:buFontTx/>
              <a:buNone/>
              <a:defRPr sz="12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3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1681183" y="4198788"/>
            <a:ext cx="7316490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dirty="0" smtClean="0"/>
            </a:lvl2pPr>
            <a:lvl3pPr>
              <a:defRPr lang="pl-PL" sz="1200" dirty="0" smtClean="0"/>
            </a:lvl3pPr>
            <a:lvl4pPr>
              <a:defRPr lang="pl-PL" sz="1200" dirty="0" smtClean="0"/>
            </a:lvl4pPr>
            <a:lvl5pPr>
              <a:defRPr lang="pl-PL" sz="12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4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1681184" y="4331209"/>
            <a:ext cx="7316489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smtClean="0"/>
            </a:lvl2pPr>
            <a:lvl3pPr>
              <a:defRPr lang="pl-PL" sz="1200" smtClean="0"/>
            </a:lvl3pPr>
            <a:lvl4pPr>
              <a:defRPr lang="pl-PL" sz="1200" smtClean="0"/>
            </a:lvl4pPr>
            <a:lvl5pPr>
              <a:defRPr lang="pl-PL" sz="12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5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1681183" y="4462070"/>
            <a:ext cx="7316490" cy="126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9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7" name="Rectangle 9"/>
          <p:cNvSpPr/>
          <p:nvPr userDrawn="1"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4367534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255600" y="244800"/>
            <a:ext cx="8892000" cy="4392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323852" y="250034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5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323852" y="250034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5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4212000" y="1"/>
            <a:ext cx="720000" cy="61753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681182" y="2984662"/>
            <a:ext cx="7316490" cy="107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TYTUŁ PREZENTACJI </a:t>
            </a:r>
            <a:br>
              <a:rPr lang="fr-FR" noProof="0" dirty="0"/>
            </a:br>
            <a:r>
              <a:rPr lang="fr-FR" noProof="0" dirty="0"/>
              <a:t>– SLAJD BEZ ZDJĘCIA 1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07818" y="3219822"/>
            <a:ext cx="144000" cy="684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31" name="Obraz 30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3676" y="4711308"/>
            <a:ext cx="1139416" cy="360040"/>
          </a:xfrm>
          <a:prstGeom prst="rect">
            <a:avLst/>
          </a:prstGeom>
        </p:spPr>
      </p:pic>
      <p:sp>
        <p:nvSpPr>
          <p:cNvPr id="36" name="Rectangle 9"/>
          <p:cNvSpPr/>
          <p:nvPr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7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38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1681183" y="4066265"/>
            <a:ext cx="7316490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9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31990" indent="0">
              <a:buFontTx/>
              <a:buNone/>
              <a:defRPr sz="1200"/>
            </a:lvl2pPr>
            <a:lvl3pPr marL="863978" indent="0">
              <a:buFontTx/>
              <a:buNone/>
              <a:defRPr sz="1200"/>
            </a:lvl3pPr>
            <a:lvl4pPr marL="1295968" indent="0">
              <a:buFontTx/>
              <a:buNone/>
              <a:defRPr sz="1200"/>
            </a:lvl4pPr>
            <a:lvl5pPr marL="1727957" indent="0">
              <a:buFontTx/>
              <a:buNone/>
              <a:defRPr sz="12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1681183" y="4198788"/>
            <a:ext cx="7316490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dirty="0" smtClean="0"/>
            </a:lvl2pPr>
            <a:lvl3pPr>
              <a:defRPr lang="pl-PL" sz="1200" dirty="0" smtClean="0"/>
            </a:lvl3pPr>
            <a:lvl4pPr>
              <a:defRPr lang="pl-PL" sz="1200" dirty="0" smtClean="0"/>
            </a:lvl4pPr>
            <a:lvl5pPr>
              <a:defRPr lang="pl-PL" sz="12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1681184" y="4331209"/>
            <a:ext cx="7316489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smtClean="0"/>
            </a:lvl2pPr>
            <a:lvl3pPr>
              <a:defRPr lang="pl-PL" sz="1200" smtClean="0"/>
            </a:lvl3pPr>
            <a:lvl4pPr>
              <a:defRPr lang="pl-PL" sz="1200" smtClean="0"/>
            </a:lvl4pPr>
            <a:lvl5pPr>
              <a:defRPr lang="pl-PL" sz="12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7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1681183" y="4462070"/>
            <a:ext cx="7316490" cy="126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9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19" name="Forme libre 16"/>
          <p:cNvSpPr/>
          <p:nvPr userDrawn="1"/>
        </p:nvSpPr>
        <p:spPr bwMode="gray">
          <a:xfrm>
            <a:off x="323852" y="250034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5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Rectangle 9"/>
          <p:cNvSpPr/>
          <p:nvPr userDrawn="1"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26239508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255600" y="244800"/>
            <a:ext cx="8892000" cy="4392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323852" y="250034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5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323852" y="250034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5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4212000" y="1"/>
            <a:ext cx="720000" cy="61753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681182" y="2984662"/>
            <a:ext cx="7316490" cy="107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</a:t>
            </a:r>
            <a:br>
              <a:rPr lang="pl-PL" noProof="0" dirty="0"/>
            </a:br>
            <a:r>
              <a:rPr lang="pl-PL" noProof="0" dirty="0"/>
              <a:t>– Slajd bez zdjęcia 2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07818" y="3219822"/>
            <a:ext cx="144000" cy="684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pic>
        <p:nvPicPr>
          <p:cNvPr id="17" name="Obraz 16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3676" y="4711308"/>
            <a:ext cx="1139416" cy="360040"/>
          </a:xfrm>
          <a:prstGeom prst="rect">
            <a:avLst/>
          </a:prstGeom>
        </p:spPr>
      </p:pic>
      <p:sp>
        <p:nvSpPr>
          <p:cNvPr id="28" name="Rectangle 9"/>
          <p:cNvSpPr/>
          <p:nvPr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1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32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3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5008500"/>
            <a:ext cx="180000" cy="135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1681183" y="4066265"/>
            <a:ext cx="7316490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9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31990" indent="0">
              <a:buFontTx/>
              <a:buNone/>
              <a:defRPr sz="1200"/>
            </a:lvl2pPr>
            <a:lvl3pPr marL="863978" indent="0">
              <a:buFontTx/>
              <a:buNone/>
              <a:defRPr sz="1200"/>
            </a:lvl3pPr>
            <a:lvl4pPr marL="1295968" indent="0">
              <a:buFontTx/>
              <a:buNone/>
              <a:defRPr sz="1200"/>
            </a:lvl4pPr>
            <a:lvl5pPr marL="1727957" indent="0">
              <a:buFontTx/>
              <a:buNone/>
              <a:defRPr sz="1200"/>
            </a:lvl5pPr>
          </a:lstStyle>
          <a:p>
            <a:pPr lvl="0"/>
            <a:r>
              <a:rPr lang="pl-PL" dirty="0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1681183" y="4198788"/>
            <a:ext cx="7316490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dirty="0" smtClean="0"/>
            </a:lvl2pPr>
            <a:lvl3pPr>
              <a:defRPr lang="pl-PL" sz="1200" dirty="0" smtClean="0"/>
            </a:lvl3pPr>
            <a:lvl4pPr>
              <a:defRPr lang="pl-PL" sz="1200" dirty="0" smtClean="0"/>
            </a:lvl4pPr>
            <a:lvl5pPr>
              <a:defRPr lang="pl-PL" sz="1200" dirty="0"/>
            </a:lvl5pPr>
          </a:lstStyle>
          <a:p>
            <a:pPr marL="0" lvl="0" indent="0">
              <a:buFontTx/>
              <a:buNone/>
            </a:pPr>
            <a:r>
              <a:rPr lang="pl-PL" dirty="0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1681184" y="4331209"/>
            <a:ext cx="7316489" cy="126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9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200" smtClean="0"/>
            </a:lvl2pPr>
            <a:lvl3pPr>
              <a:defRPr lang="pl-PL" sz="1200" smtClean="0"/>
            </a:lvl3pPr>
            <a:lvl4pPr>
              <a:defRPr lang="pl-PL" sz="1200" smtClean="0"/>
            </a:lvl4pPr>
            <a:lvl5pPr>
              <a:defRPr lang="pl-PL" sz="1200"/>
            </a:lvl5pPr>
          </a:lstStyle>
          <a:p>
            <a:pPr marL="0" lvl="0" indent="0">
              <a:buFontTx/>
              <a:buNone/>
            </a:pPr>
            <a:r>
              <a:rPr lang="pl-PL" dirty="0"/>
              <a:t>Imię i nazwisko osoby prezentującej</a:t>
            </a:r>
          </a:p>
        </p:txBody>
      </p:sp>
      <p:sp>
        <p:nvSpPr>
          <p:cNvPr id="18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1681183" y="4462070"/>
            <a:ext cx="7316490" cy="126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9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 dirty="0"/>
              <a:t>Nazwa jednostki organizacyjnej</a:t>
            </a:r>
          </a:p>
        </p:txBody>
      </p:sp>
      <p:sp>
        <p:nvSpPr>
          <p:cNvPr id="21" name="Forme libre 16"/>
          <p:cNvSpPr/>
          <p:nvPr userDrawn="1"/>
        </p:nvSpPr>
        <p:spPr bwMode="gray">
          <a:xfrm>
            <a:off x="323852" y="250034"/>
            <a:ext cx="8820151" cy="43875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68575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2813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Rectangle 9"/>
          <p:cNvSpPr/>
          <p:nvPr userDrawn="1"/>
        </p:nvSpPr>
        <p:spPr bwMode="gray">
          <a:xfrm>
            <a:off x="0" y="4731990"/>
            <a:ext cx="2555776" cy="4115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7079139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6"/>
          <p:cNvSpPr/>
          <p:nvPr/>
        </p:nvSpPr>
        <p:spPr>
          <a:xfrm>
            <a:off x="255600" y="244800"/>
            <a:ext cx="8892000" cy="4392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840184" y="385764"/>
            <a:ext cx="5862374" cy="4133850"/>
          </a:xfrm>
        </p:spPr>
        <p:txBody>
          <a:bodyPr anchor="ctr" anchorCtr="0"/>
          <a:lstStyle>
            <a:lvl1pPr>
              <a:defRPr sz="2800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4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11083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4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7"/>
            <a:ext cx="8118475" cy="565150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222375"/>
            <a:ext cx="8126412" cy="3328988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22656537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4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187"/>
            <a:ext cx="8118475" cy="9715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581739"/>
            <a:ext cx="8126412" cy="2969624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19435757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4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8126412" cy="3079575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4" y="1093243"/>
            <a:ext cx="8101013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64075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4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8126412" cy="3079575"/>
          </a:xfrm>
        </p:spPr>
        <p:txBody>
          <a:bodyPr numCol="2" spcCol="180000"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4" y="1093243"/>
            <a:ext cx="8101013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26633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4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9" y="1471787"/>
            <a:ext cx="3968264" cy="3079575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5" y="1093243"/>
            <a:ext cx="3968768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4848322" y="1471787"/>
            <a:ext cx="3968264" cy="3079575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4847818" y="1093243"/>
            <a:ext cx="3968768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1431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50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222375"/>
            <a:ext cx="8126412" cy="3328988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62A1738F-BB0C-3D7B-C370-D2453226EF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4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7"/>
            <a:ext cx="8118475" cy="565150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4508" y="1547849"/>
            <a:ext cx="292574" cy="1282822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1677988" y="1547814"/>
            <a:ext cx="7124700" cy="1282700"/>
          </a:xfrm>
        </p:spPr>
        <p:txBody>
          <a:bodyPr/>
          <a:lstStyle>
            <a:lvl1pPr marL="0" indent="0">
              <a:buNone/>
              <a:defRPr sz="2800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1677448" y="3308521"/>
            <a:ext cx="7092950" cy="88265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681255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4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9"/>
            <a:ext cx="3698260" cy="2809982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4" y="1093243"/>
            <a:ext cx="3698765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4524376" y="1090614"/>
            <a:ext cx="4295775" cy="319115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3848606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693233" y="4860251"/>
            <a:ext cx="494391" cy="27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530704" y="4860251"/>
            <a:ext cx="293491" cy="27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5121891" y="1471789"/>
            <a:ext cx="3698260" cy="2899982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5121386" y="1093243"/>
            <a:ext cx="3698765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708079" y="1090613"/>
            <a:ext cx="4133925" cy="3281157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42381286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6346" y="3941619"/>
            <a:ext cx="5964382" cy="817418"/>
          </a:xfrm>
          <a:prstGeom prst="rect">
            <a:avLst/>
          </a:prstGeom>
        </p:spPr>
      </p:pic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35497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3273" y="3955474"/>
            <a:ext cx="5971309" cy="803564"/>
          </a:xfrm>
          <a:prstGeom prst="rect">
            <a:avLst/>
          </a:prstGeom>
        </p:spPr>
      </p:pic>
      <p:sp>
        <p:nvSpPr>
          <p:cNvPr id="13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01256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661F7-EBD4-4635-AE34-3CA7196C9DD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109100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4 - l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 34" descr="logo_gauche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4149" y="4782325"/>
            <a:ext cx="335038" cy="231631"/>
          </a:xfrm>
          <a:prstGeom prst="rect">
            <a:avLst/>
          </a:prstGeom>
        </p:spPr>
      </p:pic>
      <p:sp>
        <p:nvSpPr>
          <p:cNvPr id="2" name="Espace réservé de la date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4E47072-D39A-43DD-AD45-94D0F38DCC16}" type="slidenum">
              <a:rPr lang="fr-FR" smtClean="0"/>
              <a:t>‹#›</a:t>
            </a:fld>
            <a:endParaRPr lang="fr-FR"/>
          </a:p>
        </p:txBody>
      </p:sp>
      <p:cxnSp>
        <p:nvCxnSpPr>
          <p:cNvPr id="59" name="Connecteur droit 58"/>
          <p:cNvCxnSpPr/>
          <p:nvPr userDrawn="1"/>
        </p:nvCxnSpPr>
        <p:spPr>
          <a:xfrm>
            <a:off x="1556954" y="4828131"/>
            <a:ext cx="0" cy="152106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731044" y="1003434"/>
            <a:ext cx="7823394" cy="3522846"/>
          </a:xfrm>
        </p:spPr>
        <p:txBody>
          <a:bodyPr>
            <a:normAutofit/>
          </a:bodyPr>
          <a:lstStyle>
            <a:lvl1pPr>
              <a:spcAft>
                <a:spcPts val="375"/>
              </a:spcAft>
              <a:defRPr sz="1050" b="1">
                <a:solidFill>
                  <a:srgbClr val="0E9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39320" indent="-171446">
              <a:lnSpc>
                <a:spcPct val="100000"/>
              </a:lnSpc>
              <a:spcAft>
                <a:spcPts val="375"/>
              </a:spcAft>
              <a:defRPr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41721" indent="-171446">
              <a:lnSpc>
                <a:spcPct val="100000"/>
              </a:lnSpc>
              <a:defRPr sz="90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5788" indent="-171446">
              <a:lnSpc>
                <a:spcPct val="100000"/>
              </a:lnSpc>
              <a:defRPr sz="90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38189" indent="-171446">
              <a:lnSpc>
                <a:spcPct val="100000"/>
              </a:lnSpc>
              <a:defRPr sz="90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731045" y="340370"/>
            <a:ext cx="7823393" cy="511969"/>
          </a:xfrm>
        </p:spPr>
        <p:txBody>
          <a:bodyPr/>
          <a:lstStyle>
            <a:lvl1pPr marL="0" indent="0">
              <a:buNone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892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lkllklklk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92690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a tytułowa ze zdjęcie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10549" y="1771010"/>
            <a:ext cx="4181500" cy="108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1" cap="all" baseline="0">
                <a:solidFill>
                  <a:srgbClr val="009597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4710548" y="3461639"/>
            <a:ext cx="3748254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100" b="0">
                <a:ln>
                  <a:noFill/>
                </a:ln>
                <a:solidFill>
                  <a:srgbClr val="009597"/>
                </a:solidFill>
                <a:latin typeface="+mj-lt"/>
              </a:defRPr>
            </a:lvl1pPr>
            <a:lvl2pPr marL="431990" indent="0">
              <a:buFontTx/>
              <a:buNone/>
              <a:defRPr sz="1200"/>
            </a:lvl2pPr>
            <a:lvl3pPr marL="863978" indent="0">
              <a:buFontTx/>
              <a:buNone/>
              <a:defRPr sz="1200"/>
            </a:lvl3pPr>
            <a:lvl4pPr marL="1295968" indent="0">
              <a:buFontTx/>
              <a:buNone/>
              <a:defRPr sz="1200"/>
            </a:lvl4pPr>
            <a:lvl5pPr marL="1727957" indent="0">
              <a:buFontTx/>
              <a:buNone/>
              <a:defRPr sz="12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10" name="Symbol zastępczy obrazu 9">
            <a:extLst>
              <a:ext uri="{FF2B5EF4-FFF2-40B4-BE49-F238E27FC236}">
                <a16:creationId xmlns:a16="http://schemas.microsoft.com/office/drawing/2014/main" id="{71BB64A8-5201-560B-036C-DD2C167D124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955" y="591728"/>
            <a:ext cx="3912317" cy="388409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pl-PL" noProof="0" dirty="0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19EA351-D5B5-7F01-11D2-2725DC11DB3F}"/>
              </a:ext>
            </a:extLst>
          </p:cNvPr>
          <p:cNvSpPr txBox="1"/>
          <p:nvPr userDrawn="1"/>
        </p:nvSpPr>
        <p:spPr>
          <a:xfrm>
            <a:off x="6552024" y="141724"/>
            <a:ext cx="2340026" cy="5411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950" b="1" i="0" u="none" strike="noStrike" cap="none" spc="0" normalizeH="0" baseline="0" dirty="0">
              <a:ln>
                <a:noFill/>
              </a:ln>
              <a:solidFill>
                <a:srgbClr val="009597"/>
              </a:solidFill>
              <a:effectLst/>
              <a:uFillTx/>
              <a:latin typeface="+mj-lt"/>
              <a:sym typeface="Helvetica Neue Medium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4E2A0DB4-C391-F51E-8244-4C5C553553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2031" y="4281770"/>
            <a:ext cx="1706135" cy="852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2827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ona tytułowa bez zdjęcia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41954" y="1671740"/>
            <a:ext cx="4770053" cy="108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bez zdjęcia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341953" y="3651762"/>
            <a:ext cx="3748254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1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31990" indent="0">
              <a:buFontTx/>
              <a:buNone/>
              <a:defRPr sz="1200"/>
            </a:lvl2pPr>
            <a:lvl3pPr marL="863978" indent="0">
              <a:buFontTx/>
              <a:buNone/>
              <a:defRPr sz="1200"/>
            </a:lvl3pPr>
            <a:lvl4pPr marL="1295968" indent="0">
              <a:buFontTx/>
              <a:buNone/>
              <a:defRPr sz="1200"/>
            </a:lvl4pPr>
            <a:lvl5pPr marL="1727957" indent="0">
              <a:buFontTx/>
              <a:buNone/>
              <a:defRPr sz="12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F89DDC0A-C8A3-D16B-6C20-24F73F60C148}"/>
              </a:ext>
            </a:extLst>
          </p:cNvPr>
          <p:cNvSpPr/>
          <p:nvPr userDrawn="1"/>
        </p:nvSpPr>
        <p:spPr>
          <a:xfrm>
            <a:off x="8532044" y="4692837"/>
            <a:ext cx="540006" cy="4117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79354D9-10E9-75FC-A7C3-07B26F2F4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2505" y="4198268"/>
            <a:ext cx="1990001" cy="995898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8ACB1BDD-6445-8BEB-AF5D-6D12348970EE}"/>
              </a:ext>
            </a:extLst>
          </p:cNvPr>
          <p:cNvSpPr txBox="1"/>
          <p:nvPr userDrawn="1"/>
        </p:nvSpPr>
        <p:spPr>
          <a:xfrm>
            <a:off x="6552024" y="141724"/>
            <a:ext cx="2340026" cy="5411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95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1955993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21956" y="504825"/>
            <a:ext cx="5862374" cy="4133850"/>
          </a:xfrm>
        </p:spPr>
        <p:txBody>
          <a:bodyPr anchor="ctr" anchorCtr="0"/>
          <a:lstStyle>
            <a:lvl1pPr>
              <a:defRPr sz="2800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E1D126D6-0B64-6919-8837-ED74CA354962}"/>
              </a:ext>
            </a:extLst>
          </p:cNvPr>
          <p:cNvSpPr/>
          <p:nvPr userDrawn="1"/>
        </p:nvSpPr>
        <p:spPr>
          <a:xfrm>
            <a:off x="8532044" y="4731774"/>
            <a:ext cx="540006" cy="3600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</p:spTree>
    <p:extLst>
      <p:ext uri="{BB962C8B-B14F-4D97-AF65-F5344CB8AC3E}">
        <p14:creationId xmlns:p14="http://schemas.microsoft.com/office/powerpoint/2010/main" val="15006808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186"/>
            <a:ext cx="8118475" cy="9715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581739"/>
            <a:ext cx="8126412" cy="2969624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A89FAB4E-5FFF-5BF4-4C4D-D184B9D007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8425277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7"/>
            <a:ext cx="8118475" cy="565150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222375"/>
            <a:ext cx="8126412" cy="3328988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62A1738F-BB0C-3D7B-C370-D2453226EF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90833354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187"/>
            <a:ext cx="8118475" cy="9715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581739"/>
            <a:ext cx="8126412" cy="2969624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A89FAB4E-5FFF-5BF4-4C4D-D184B9D007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335027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8126412" cy="3079575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4" y="1093243"/>
            <a:ext cx="8101013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rgbClr val="81BC00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3CA16B62-741F-3138-CDB8-71B2887FB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10D10B6-E01F-72B7-C0C1-C287619599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7280053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8126412" cy="3079575"/>
          </a:xfrm>
        </p:spPr>
        <p:txBody>
          <a:bodyPr numCol="2" spcCol="180000"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4" y="1093243"/>
            <a:ext cx="8101013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C441EEDD-7CF9-9BDA-9361-3C8F32B1F9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50613406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9" y="1471787"/>
            <a:ext cx="3968264" cy="3079575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5" y="1093243"/>
            <a:ext cx="3968768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4848322" y="1471787"/>
            <a:ext cx="3968264" cy="3079575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4847818" y="1093243"/>
            <a:ext cx="3968768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715A34D-679C-4AC9-9D2F-A4CE67AAB6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819772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7"/>
            <a:ext cx="8118475" cy="565150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4508" y="1547849"/>
            <a:ext cx="292574" cy="1282822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1677988" y="1547814"/>
            <a:ext cx="7124700" cy="1282700"/>
          </a:xfrm>
        </p:spPr>
        <p:txBody>
          <a:bodyPr/>
          <a:lstStyle>
            <a:lvl1pPr marL="0" indent="0">
              <a:buNone/>
              <a:defRPr sz="2800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1677448" y="3308521"/>
            <a:ext cx="7092950" cy="88265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67D99D1-2028-B6E8-E491-A5E301624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822278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9"/>
            <a:ext cx="3698260" cy="2809982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4" y="1093243"/>
            <a:ext cx="3698765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4524376" y="1090614"/>
            <a:ext cx="4295775" cy="319115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814CC9E-C65F-165E-0604-3A6392D28D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604866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5121891" y="1471789"/>
            <a:ext cx="3698260" cy="2899982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5121386" y="1093243"/>
            <a:ext cx="3698765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708079" y="1090613"/>
            <a:ext cx="4133925" cy="3281157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EBCA5C9C-CE6F-B4C4-7578-B6C3BC9C61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065684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997271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6346" y="3941619"/>
            <a:ext cx="5964382" cy="817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849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8126412" cy="3079575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3" y="1093242"/>
            <a:ext cx="8101013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rgbClr val="81BC00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3CA16B62-741F-3138-CDB8-71B2887FB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10D10B6-E01F-72B7-C0C1-C287619599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085266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3273" y="3955474"/>
            <a:ext cx="5971309" cy="803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8631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661F7-EBD4-4635-AE34-3CA7196C9DD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512447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e zdjęcie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10549" y="1771010"/>
            <a:ext cx="4181500" cy="108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1" cap="all" baseline="0">
                <a:solidFill>
                  <a:srgbClr val="009597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ze zdjęciem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4710548" y="3461639"/>
            <a:ext cx="3748254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100" b="0">
                <a:ln>
                  <a:noFill/>
                </a:ln>
                <a:solidFill>
                  <a:srgbClr val="009597"/>
                </a:solidFill>
                <a:latin typeface="+mj-lt"/>
              </a:defRPr>
            </a:lvl1pPr>
            <a:lvl2pPr marL="431990" indent="0">
              <a:buFontTx/>
              <a:buNone/>
              <a:defRPr sz="1200"/>
            </a:lvl2pPr>
            <a:lvl3pPr marL="863978" indent="0">
              <a:buFontTx/>
              <a:buNone/>
              <a:defRPr sz="1200"/>
            </a:lvl3pPr>
            <a:lvl4pPr marL="1295968" indent="0">
              <a:buFontTx/>
              <a:buNone/>
              <a:defRPr sz="1200"/>
            </a:lvl4pPr>
            <a:lvl5pPr marL="1727957" indent="0">
              <a:buFontTx/>
              <a:buNone/>
              <a:defRPr sz="12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10" name="Symbol zastępczy obrazu 9">
            <a:extLst>
              <a:ext uri="{FF2B5EF4-FFF2-40B4-BE49-F238E27FC236}">
                <a16:creationId xmlns:a16="http://schemas.microsoft.com/office/drawing/2014/main" id="{71BB64A8-5201-560B-036C-DD2C167D124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955" y="591728"/>
            <a:ext cx="3912317" cy="388409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pl-PL" noProof="0"/>
              <a:t>Kliknij ikonę, aby dodać obraz</a:t>
            </a:r>
            <a:endParaRPr lang="pl-PL" noProof="0" dirty="0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19EA351-D5B5-7F01-11D2-2725DC11DB3F}"/>
              </a:ext>
            </a:extLst>
          </p:cNvPr>
          <p:cNvSpPr txBox="1"/>
          <p:nvPr/>
        </p:nvSpPr>
        <p:spPr>
          <a:xfrm>
            <a:off x="6462022" y="141724"/>
            <a:ext cx="2430027" cy="5411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i społeczeństwa</a:t>
            </a:r>
          </a:p>
          <a:p>
            <a:pPr marL="0" marR="0" indent="0" algn="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950" b="1" i="0" u="none" strike="noStrike" cap="none" spc="0" normalizeH="0" baseline="0" dirty="0">
              <a:ln>
                <a:noFill/>
              </a:ln>
              <a:solidFill>
                <a:srgbClr val="009597"/>
              </a:solidFill>
              <a:effectLst/>
              <a:uFillTx/>
              <a:latin typeface="+mj-lt"/>
              <a:sym typeface="Helvetica Neue Medium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4E2A0DB4-C391-F51E-8244-4C5C553553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2031" y="4281770"/>
            <a:ext cx="1706135" cy="852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4558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rona tytułowa bez zdjęcia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41954" y="1671740"/>
            <a:ext cx="4770053" cy="108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bez zdjęcia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341953" y="3651762"/>
            <a:ext cx="3748254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1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31990" indent="0">
              <a:buFontTx/>
              <a:buNone/>
              <a:defRPr sz="1200"/>
            </a:lvl2pPr>
            <a:lvl3pPr marL="863978" indent="0">
              <a:buFontTx/>
              <a:buNone/>
              <a:defRPr sz="1200"/>
            </a:lvl3pPr>
            <a:lvl4pPr marL="1295968" indent="0">
              <a:buFontTx/>
              <a:buNone/>
              <a:defRPr sz="1200"/>
            </a:lvl4pPr>
            <a:lvl5pPr marL="1727957" indent="0">
              <a:buFontTx/>
              <a:buNone/>
              <a:defRPr sz="12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F89DDC0A-C8A3-D16B-6C20-24F73F60C148}"/>
              </a:ext>
            </a:extLst>
          </p:cNvPr>
          <p:cNvSpPr/>
          <p:nvPr/>
        </p:nvSpPr>
        <p:spPr>
          <a:xfrm>
            <a:off x="8532044" y="4692837"/>
            <a:ext cx="540006" cy="4117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79354D9-10E9-75FC-A7C3-07B26F2F45F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2505" y="4198268"/>
            <a:ext cx="1990001" cy="995898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8ACB1BDD-6445-8BEB-AF5D-6D12348970EE}"/>
              </a:ext>
            </a:extLst>
          </p:cNvPr>
          <p:cNvSpPr txBox="1"/>
          <p:nvPr/>
        </p:nvSpPr>
        <p:spPr>
          <a:xfrm>
            <a:off x="6552024" y="141724"/>
            <a:ext cx="2340026" cy="5411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i społeczeństwa</a:t>
            </a:r>
          </a:p>
          <a:p>
            <a:pPr marL="0" marR="0" indent="0" algn="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95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sym typeface="Helvetica Neue Medium"/>
            </a:endParaRPr>
          </a:p>
        </p:txBody>
      </p:sp>
      <p:sp>
        <p:nvSpPr>
          <p:cNvPr id="9" name="Prostokąt 8">
            <a:extLst>
              <a:ext uri="{FF2B5EF4-FFF2-40B4-BE49-F238E27FC236}">
                <a16:creationId xmlns:a16="http://schemas.microsoft.com/office/drawing/2014/main" id="{F89DDC0A-C8A3-D16B-6C20-24F73F60C148}"/>
              </a:ext>
            </a:extLst>
          </p:cNvPr>
          <p:cNvSpPr/>
          <p:nvPr userDrawn="1"/>
        </p:nvSpPr>
        <p:spPr>
          <a:xfrm>
            <a:off x="8532044" y="4692837"/>
            <a:ext cx="540006" cy="4117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879354D9-10E9-75FC-A7C3-07B26F2F4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2505" y="4198268"/>
            <a:ext cx="1990001" cy="995898"/>
          </a:xfrm>
          <a:prstGeom prst="rect">
            <a:avLst/>
          </a:prstGeom>
        </p:spPr>
      </p:pic>
      <p:sp>
        <p:nvSpPr>
          <p:cNvPr id="13" name="pole tekstowe 12">
            <a:extLst>
              <a:ext uri="{FF2B5EF4-FFF2-40B4-BE49-F238E27FC236}">
                <a16:creationId xmlns:a16="http://schemas.microsoft.com/office/drawing/2014/main" id="{8ACB1BDD-6445-8BEB-AF5D-6D12348970EE}"/>
              </a:ext>
            </a:extLst>
          </p:cNvPr>
          <p:cNvSpPr txBox="1"/>
          <p:nvPr userDrawn="1"/>
        </p:nvSpPr>
        <p:spPr>
          <a:xfrm>
            <a:off x="6552024" y="141724"/>
            <a:ext cx="2340026" cy="5411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i społeczeństwa</a:t>
            </a:r>
          </a:p>
          <a:p>
            <a:pPr marL="0" marR="0" indent="0" algn="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95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3594300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21956" y="504825"/>
            <a:ext cx="5862374" cy="4133850"/>
          </a:xfrm>
        </p:spPr>
        <p:txBody>
          <a:bodyPr anchor="ctr" anchorCtr="0"/>
          <a:lstStyle>
            <a:lvl1pPr>
              <a:defRPr sz="2800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Slajd przekładkowy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E1D126D6-0B64-6919-8837-ED74CA354962}"/>
              </a:ext>
            </a:extLst>
          </p:cNvPr>
          <p:cNvSpPr/>
          <p:nvPr/>
        </p:nvSpPr>
        <p:spPr>
          <a:xfrm>
            <a:off x="8532044" y="4731774"/>
            <a:ext cx="540006" cy="3600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</p:spTree>
    <p:extLst>
      <p:ext uri="{BB962C8B-B14F-4D97-AF65-F5344CB8AC3E}">
        <p14:creationId xmlns:p14="http://schemas.microsoft.com/office/powerpoint/2010/main" val="5009148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7"/>
            <a:ext cx="8118475" cy="565150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222375"/>
            <a:ext cx="8126412" cy="3328988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62A1738F-BB0C-3D7B-C370-D2453226EF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14DEB3C-1A91-4003-91F8-B5EB909C1F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82360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187"/>
            <a:ext cx="8118475" cy="9715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rgbClr val="008789"/>
                </a:solidFill>
              </a:rPr>
              <a:t>Tytuł </a:t>
            </a:r>
            <a:br>
              <a:rPr lang="pl-PL" dirty="0">
                <a:solidFill>
                  <a:srgbClr val="008789"/>
                </a:solidFill>
              </a:rPr>
            </a:br>
            <a:r>
              <a:rPr lang="pl-PL" dirty="0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581739"/>
            <a:ext cx="8126412" cy="2969624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A89FAB4E-5FFF-5BF4-4C4D-D184B9D007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14DEB3C-1A91-4003-91F8-B5EB909C1F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39159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8126412" cy="3079575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4" y="1093243"/>
            <a:ext cx="8101013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rgbClr val="81BC00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3CA16B62-741F-3138-CDB8-71B2887FB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10D10B6-E01F-72B7-C0C1-C287619599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4DEB3C-1A91-4003-91F8-B5EB909C1F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7345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8126412" cy="3079575"/>
          </a:xfrm>
        </p:spPr>
        <p:txBody>
          <a:bodyPr numCol="2" spcCol="180000"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4" y="1093243"/>
            <a:ext cx="8101013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C441EEDD-7CF9-9BDA-9361-3C8F32B1F9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4DEB3C-1A91-4003-91F8-B5EB909C1F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7886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9" y="1471787"/>
            <a:ext cx="3968264" cy="3079575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5" y="1093243"/>
            <a:ext cx="3968768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4848322" y="1471787"/>
            <a:ext cx="3968264" cy="3079575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4847818" y="1093243"/>
            <a:ext cx="3968768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715A34D-679C-4AC9-9D2F-A4CE67AAB6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4DEB3C-1A91-4003-91F8-B5EB909C1F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210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8126412" cy="3079575"/>
          </a:xfrm>
        </p:spPr>
        <p:txBody>
          <a:bodyPr numCol="2" spcCol="180000"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3" y="1093242"/>
            <a:ext cx="8101013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C441EEDD-7CF9-9BDA-9361-3C8F32B1F9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1150195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7"/>
            <a:ext cx="8118475" cy="565150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4508" y="1547849"/>
            <a:ext cx="292574" cy="1282822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1677988" y="1547814"/>
            <a:ext cx="7124700" cy="1282700"/>
          </a:xfrm>
        </p:spPr>
        <p:txBody>
          <a:bodyPr/>
          <a:lstStyle>
            <a:lvl1pPr marL="0" indent="0">
              <a:buNone/>
              <a:defRPr sz="2800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1677448" y="3308521"/>
            <a:ext cx="7092950" cy="88265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67D99D1-2028-B6E8-E491-A5E301624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4DEB3C-1A91-4003-91F8-B5EB909C1F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37900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9"/>
            <a:ext cx="3698260" cy="2809982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4" y="1093243"/>
            <a:ext cx="3698765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4524376" y="1090614"/>
            <a:ext cx="4295775" cy="319115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814CC9E-C65F-165E-0604-3A6392D28D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4DEB3C-1A91-4003-91F8-B5EB909C1F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4587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5121891" y="1471789"/>
            <a:ext cx="3698260" cy="2899982"/>
          </a:xfrm>
        </p:spPr>
        <p:txBody>
          <a:bodyPr/>
          <a:lstStyle>
            <a:lvl1pPr marL="269993" indent="-269993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5121386" y="1093243"/>
            <a:ext cx="3698765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</a:t>
            </a:r>
            <a:endParaRPr lang="pl-PL" dirty="0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708079" y="1090613"/>
            <a:ext cx="4133925" cy="3281157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 dirty="0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EBCA5C9C-CE6F-B4C4-7578-B6C3BC9C61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4DEB3C-1A91-4003-91F8-B5EB909C1F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1222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9126030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6346" y="3941619"/>
            <a:ext cx="5964382" cy="817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39217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3273" y="3955474"/>
            <a:ext cx="5971309" cy="803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0235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rona tytułowa bez zdjęcia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41954" y="1671740"/>
            <a:ext cx="4770053" cy="108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 dirty="0"/>
              <a:t>TYTUŁ PREZENTACJI </a:t>
            </a:r>
            <a:br>
              <a:rPr lang="pl-PL" noProof="0" dirty="0"/>
            </a:br>
            <a:r>
              <a:rPr lang="pl-PL" noProof="0" dirty="0"/>
              <a:t>– Slajd bez zdjęcia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341953" y="3651762"/>
            <a:ext cx="3748254" cy="126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1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31990" indent="0">
              <a:buFontTx/>
              <a:buNone/>
              <a:defRPr sz="1200"/>
            </a:lvl2pPr>
            <a:lvl3pPr marL="863978" indent="0">
              <a:buFontTx/>
              <a:buNone/>
              <a:defRPr sz="1200"/>
            </a:lvl3pPr>
            <a:lvl4pPr marL="1295968" indent="0">
              <a:buFontTx/>
              <a:buNone/>
              <a:defRPr sz="1200"/>
            </a:lvl4pPr>
            <a:lvl5pPr marL="1727957" indent="0">
              <a:buFontTx/>
              <a:buNone/>
              <a:defRPr sz="1200"/>
            </a:lvl5pPr>
          </a:lstStyle>
          <a:p>
            <a:pPr lvl="0"/>
            <a:r>
              <a:rPr lang="pl-PL" dirty="0" err="1"/>
              <a:t>xxxxxxxxxxxxxxxxx</a:t>
            </a:r>
            <a:endParaRPr lang="pl-PL" dirty="0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F89DDC0A-C8A3-D16B-6C20-24F73F60C148}"/>
              </a:ext>
            </a:extLst>
          </p:cNvPr>
          <p:cNvSpPr/>
          <p:nvPr userDrawn="1"/>
        </p:nvSpPr>
        <p:spPr>
          <a:xfrm>
            <a:off x="8532044" y="4692837"/>
            <a:ext cx="540006" cy="4117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79354D9-10E9-75FC-A7C3-07B26F2F4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2505" y="4198268"/>
            <a:ext cx="1990001" cy="995898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8ACB1BDD-6445-8BEB-AF5D-6D12348970EE}"/>
              </a:ext>
            </a:extLst>
          </p:cNvPr>
          <p:cNvSpPr txBox="1"/>
          <p:nvPr userDrawn="1"/>
        </p:nvSpPr>
        <p:spPr>
          <a:xfrm>
            <a:off x="6552024" y="141724"/>
            <a:ext cx="2340026" cy="5411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9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i społeczeństwa</a:t>
            </a:r>
          </a:p>
          <a:p>
            <a:pPr marL="0" marR="0" indent="0" algn="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95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1174897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6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5237483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4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93738" y="1471787"/>
            <a:ext cx="3968264" cy="3079575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93234" y="1093242"/>
            <a:ext cx="3968768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4848322" y="1471787"/>
            <a:ext cx="3968264" cy="3079575"/>
          </a:xfrm>
        </p:spPr>
        <p:txBody>
          <a:bodyPr/>
          <a:lstStyle>
            <a:lvl1pPr marL="270000" indent="-270000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4847818" y="1093242"/>
            <a:ext cx="3968768" cy="223837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 dirty="0">
                <a:solidFill>
                  <a:schemeClr val="bg2"/>
                </a:solidFill>
              </a:rPr>
              <a:t>PODTYTUŁ 1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715A34D-679C-4AC9-9D2F-A4CE67AAB6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131949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701675" y="250826"/>
            <a:ext cx="8118475" cy="565150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 dirty="0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4507" y="1547848"/>
            <a:ext cx="292574" cy="1282822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1677988" y="1547813"/>
            <a:ext cx="7124700" cy="1282700"/>
          </a:xfrm>
        </p:spPr>
        <p:txBody>
          <a:bodyPr/>
          <a:lstStyle>
            <a:lvl1pPr marL="0" indent="0">
              <a:buNone/>
              <a:defRPr sz="2800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, </a:t>
            </a:r>
            <a:r>
              <a:rPr lang="pl-PL" dirty="0" err="1"/>
              <a:t>sed</a:t>
            </a:r>
            <a:r>
              <a:rPr lang="pl-PL" dirty="0"/>
              <a:t> do </a:t>
            </a:r>
            <a:r>
              <a:rPr lang="pl-PL" dirty="0" err="1"/>
              <a:t>eiusmod</a:t>
            </a:r>
            <a:r>
              <a:rPr lang="pl-PL" dirty="0"/>
              <a:t> </a:t>
            </a:r>
            <a:r>
              <a:rPr lang="pl-PL" dirty="0" err="1"/>
              <a:t>tempor</a:t>
            </a:r>
            <a:r>
              <a:rPr lang="pl-PL" dirty="0"/>
              <a:t> </a:t>
            </a:r>
            <a:r>
              <a:rPr lang="pl-PL" dirty="0" err="1"/>
              <a:t>incididunt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labore</a:t>
            </a:r>
            <a:r>
              <a:rPr lang="pl-PL" dirty="0"/>
              <a:t> et </a:t>
            </a:r>
            <a:r>
              <a:rPr lang="pl-PL" dirty="0" err="1"/>
              <a:t>dolore</a:t>
            </a:r>
            <a:r>
              <a:rPr lang="pl-PL" dirty="0"/>
              <a:t> </a:t>
            </a:r>
            <a:r>
              <a:rPr lang="pl-PL" dirty="0" err="1"/>
              <a:t>magna</a:t>
            </a:r>
            <a:r>
              <a:rPr lang="pl-PL" dirty="0"/>
              <a:t> </a:t>
            </a:r>
            <a:r>
              <a:rPr lang="pl-PL" dirty="0" err="1"/>
              <a:t>aliqua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1677448" y="3308521"/>
            <a:ext cx="7092950" cy="88265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endParaRPr lang="pl-PL" dirty="0"/>
          </a:p>
          <a:p>
            <a:pPr lvl="0"/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endParaRPr lang="pl-PL" dirty="0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67D99D1-2028-B6E8-E491-A5E301624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519820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1691680" y="285750"/>
            <a:ext cx="7079260" cy="109786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1691680" y="1504965"/>
            <a:ext cx="7079258" cy="30146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12046" y="4866333"/>
            <a:ext cx="216000" cy="149333"/>
          </a:xfrm>
          <a:prstGeom prst="rect">
            <a:avLst/>
          </a:prstGeom>
        </p:spPr>
      </p:pic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5797FB04-C354-0A02-AA3B-9B254CE61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504" y="4821775"/>
            <a:ext cx="70738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7E93A5"/>
                </a:solidFill>
              </a:defRPr>
            </a:lvl1pPr>
          </a:lstStyle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35711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84" r:id="rId2"/>
    <p:sldLayoutId id="2147483761" r:id="rId3"/>
    <p:sldLayoutId id="2147483765" r:id="rId4"/>
    <p:sldLayoutId id="2147483783" r:id="rId5"/>
    <p:sldLayoutId id="2147483774" r:id="rId6"/>
    <p:sldLayoutId id="2147483779" r:id="rId7"/>
    <p:sldLayoutId id="2147483780" r:id="rId8"/>
    <p:sldLayoutId id="2147483777" r:id="rId9"/>
    <p:sldLayoutId id="2147483781" r:id="rId10"/>
    <p:sldLayoutId id="2147483782" r:id="rId11"/>
    <p:sldLayoutId id="2147483787" r:id="rId12"/>
    <p:sldLayoutId id="2147483772" r:id="rId13"/>
    <p:sldLayoutId id="2147483768" r:id="rId14"/>
  </p:sldLayoutIdLst>
  <p:hf hdr="0" ftr="0" dt="0"/>
  <p:txStyles>
    <p:titleStyle>
      <a:lvl1pPr algn="l" defTabSz="685773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8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685773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80000"/>
        <a:buFont typeface="Wingdings" pitchFamily="2" charset="2"/>
        <a:buChar char="n"/>
        <a:defRPr sz="14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12000" indent="-180000" algn="l" defTabSz="685773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100000"/>
        <a:buFont typeface="Wingdings" pitchFamily="2" charset="2"/>
        <a:buChar char="§"/>
        <a:defRPr sz="1400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044000" indent="-180000" algn="l" defTabSz="685773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3"/>
        </a:buClr>
        <a:buSzPct val="100000"/>
        <a:buFont typeface="Wingdings" pitchFamily="2" charset="2"/>
        <a:buChar char="§"/>
        <a:defRPr sz="1400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476000" indent="-180000" algn="l" defTabSz="685773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400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1908000" indent="-180000" algn="l" defTabSz="685773" rtl="0" eaLnBrk="1" latinLnBrk="0" hangingPunct="1">
        <a:lnSpc>
          <a:spcPct val="95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400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1885874" indent="-171443" algn="l" defTabSz="68577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61" indent="-171443" algn="l" defTabSz="68577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47" indent="-171443" algn="l" defTabSz="68577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33" indent="-171443" algn="l" defTabSz="68577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7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3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59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45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32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18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04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91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4708" userDrawn="1">
          <p15:clr>
            <a:srgbClr val="F26B43"/>
          </p15:clr>
        </p15:guide>
        <p15:guide id="3" pos="183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1691680" y="285750"/>
            <a:ext cx="7079260" cy="109786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1691680" y="1504965"/>
            <a:ext cx="7079258" cy="30146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5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2320" y="4803097"/>
            <a:ext cx="1477856" cy="18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693233" y="4860251"/>
            <a:ext cx="494391" cy="27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550" baseline="0">
                <a:solidFill>
                  <a:schemeClr val="accent3"/>
                </a:solidFill>
              </a:defRPr>
            </a:lvl1pPr>
          </a:lstStyle>
          <a:p>
            <a:endParaRPr lang="fr-FR"/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5008500"/>
            <a:ext cx="180000" cy="135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 cap="all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2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530703" y="4860251"/>
            <a:ext cx="293491" cy="27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550" b="0" cap="none" baseline="0">
                <a:solidFill>
                  <a:schemeClr val="accent3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5" name="ZoneTexte 8"/>
          <p:cNvSpPr txBox="1"/>
          <p:nvPr/>
        </p:nvSpPr>
        <p:spPr bwMode="gray">
          <a:xfrm>
            <a:off x="1218070" y="4860251"/>
            <a:ext cx="144016" cy="846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550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26" name="Image 9" descr="logo_gauche.pdf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0171" y="4803097"/>
            <a:ext cx="216000" cy="149333"/>
          </a:xfrm>
          <a:prstGeom prst="rect">
            <a:avLst/>
          </a:prstGeom>
        </p:spPr>
      </p:pic>
      <p:sp>
        <p:nvSpPr>
          <p:cNvPr id="29" name="Forme libre 32"/>
          <p:cNvSpPr/>
          <p:nvPr/>
        </p:nvSpPr>
        <p:spPr>
          <a:xfrm>
            <a:off x="255165" y="243765"/>
            <a:ext cx="8892000" cy="4392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8"/>
          <p:cNvSpPr txBox="1"/>
          <p:nvPr userDrawn="1"/>
        </p:nvSpPr>
        <p:spPr bwMode="gray">
          <a:xfrm>
            <a:off x="1218070" y="4860251"/>
            <a:ext cx="144016" cy="846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550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0171" y="4803097"/>
            <a:ext cx="216000" cy="149333"/>
          </a:xfrm>
          <a:prstGeom prst="rect">
            <a:avLst/>
          </a:prstGeom>
        </p:spPr>
      </p:pic>
      <p:sp>
        <p:nvSpPr>
          <p:cNvPr id="14" name="Forme libre 32"/>
          <p:cNvSpPr/>
          <p:nvPr userDrawn="1"/>
        </p:nvSpPr>
        <p:spPr>
          <a:xfrm>
            <a:off x="255165" y="243765"/>
            <a:ext cx="8892000" cy="4392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7177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</p:sldLayoutIdLst>
  <p:hf hdr="0" ftr="0" dt="0"/>
  <p:txStyles>
    <p:titleStyle>
      <a:lvl1pPr algn="l" defTabSz="685773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8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685773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80000"/>
        <a:buFont typeface="Wingdings" pitchFamily="2" charset="2"/>
        <a:buChar char="n"/>
        <a:defRPr sz="14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12000" indent="-180000" algn="l" defTabSz="685773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100000"/>
        <a:buFont typeface="Wingdings" pitchFamily="2" charset="2"/>
        <a:buChar char="§"/>
        <a:defRPr sz="1400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044000" indent="-180000" algn="l" defTabSz="685773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3"/>
        </a:buClr>
        <a:buSzPct val="100000"/>
        <a:buFont typeface="Wingdings" pitchFamily="2" charset="2"/>
        <a:buChar char="§"/>
        <a:defRPr sz="1400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476000" indent="-180000" algn="l" defTabSz="685773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400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1908000" indent="-180000" algn="l" defTabSz="685773" rtl="0" eaLnBrk="1" latinLnBrk="0" hangingPunct="1">
        <a:lnSpc>
          <a:spcPct val="95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400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1885874" indent="-171443" algn="l" defTabSz="68577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61" indent="-171443" algn="l" defTabSz="68577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47" indent="-171443" algn="l" defTabSz="68577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33" indent="-171443" algn="l" defTabSz="68577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7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3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59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45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32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18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04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91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1691681" y="285750"/>
            <a:ext cx="7079260" cy="109786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1691680" y="1504966"/>
            <a:ext cx="7079258" cy="30146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5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2321" y="4803097"/>
            <a:ext cx="1477856" cy="18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693233" y="4860251"/>
            <a:ext cx="494391" cy="27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550" baseline="0">
                <a:solidFill>
                  <a:schemeClr val="accent3"/>
                </a:solidFill>
              </a:defRPr>
            </a:lvl1pPr>
          </a:lstStyle>
          <a:p>
            <a:endParaRPr lang="fr-FR"/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5008500"/>
            <a:ext cx="180000" cy="135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 cap="all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2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530704" y="4860251"/>
            <a:ext cx="293491" cy="27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550" b="0" cap="none" baseline="0">
                <a:solidFill>
                  <a:schemeClr val="accent3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5" name="ZoneTexte 8"/>
          <p:cNvSpPr txBox="1"/>
          <p:nvPr/>
        </p:nvSpPr>
        <p:spPr bwMode="gray">
          <a:xfrm>
            <a:off x="1218070" y="4860252"/>
            <a:ext cx="144016" cy="846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550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26" name="Image 9" descr="logo_gauche.pdf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0171" y="4803098"/>
            <a:ext cx="216000" cy="149333"/>
          </a:xfrm>
          <a:prstGeom prst="rect">
            <a:avLst/>
          </a:prstGeom>
        </p:spPr>
      </p:pic>
      <p:sp>
        <p:nvSpPr>
          <p:cNvPr id="29" name="Forme libre 32"/>
          <p:cNvSpPr/>
          <p:nvPr/>
        </p:nvSpPr>
        <p:spPr>
          <a:xfrm>
            <a:off x="255165" y="243765"/>
            <a:ext cx="8892000" cy="4392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ZoneTexte 8"/>
          <p:cNvSpPr txBox="1"/>
          <p:nvPr userDrawn="1"/>
        </p:nvSpPr>
        <p:spPr bwMode="gray">
          <a:xfrm>
            <a:off x="1218070" y="4860252"/>
            <a:ext cx="144016" cy="846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550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0171" y="4803098"/>
            <a:ext cx="216000" cy="149333"/>
          </a:xfrm>
          <a:prstGeom prst="rect">
            <a:avLst/>
          </a:prstGeom>
        </p:spPr>
      </p:pic>
      <p:sp>
        <p:nvSpPr>
          <p:cNvPr id="14" name="Forme libre 32"/>
          <p:cNvSpPr/>
          <p:nvPr userDrawn="1"/>
        </p:nvSpPr>
        <p:spPr>
          <a:xfrm>
            <a:off x="255165" y="243765"/>
            <a:ext cx="8892000" cy="4392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157342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</p:sldLayoutIdLst>
  <p:hf hdr="0" ftr="0" dt="0"/>
  <p:txStyles>
    <p:titleStyle>
      <a:lvl1pPr algn="l" defTabSz="685756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8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993" indent="-269993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80000"/>
        <a:buFont typeface="Wingdings" pitchFamily="2" charset="2"/>
        <a:buChar char="n"/>
        <a:defRPr sz="14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11985" indent="-179996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100000"/>
        <a:buFont typeface="Wingdings" pitchFamily="2" charset="2"/>
        <a:buChar char="§"/>
        <a:defRPr sz="1400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043974" indent="-179996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3"/>
        </a:buClr>
        <a:buSzPct val="100000"/>
        <a:buFont typeface="Wingdings" pitchFamily="2" charset="2"/>
        <a:buChar char="§"/>
        <a:defRPr sz="1400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475963" indent="-179996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400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1907952" indent="-179996" algn="l" defTabSz="685756" rtl="0" eaLnBrk="1" latinLnBrk="0" hangingPunct="1">
        <a:lnSpc>
          <a:spcPct val="95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400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1885827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05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83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60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6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3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11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89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67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44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22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1691681" y="285750"/>
            <a:ext cx="7079260" cy="109786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1691680" y="1504966"/>
            <a:ext cx="7079258" cy="30146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12046" y="4866334"/>
            <a:ext cx="216000" cy="149333"/>
          </a:xfrm>
          <a:prstGeom prst="rect">
            <a:avLst/>
          </a:prstGeom>
        </p:spPr>
      </p:pic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5797FB04-C354-0A02-AA3B-9B254CE61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505" y="4821776"/>
            <a:ext cx="70738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7E93A5"/>
                </a:solidFill>
              </a:defRPr>
            </a:lvl1pPr>
          </a:lstStyle>
          <a:p>
            <a:fld id="{332DF002-2E43-485C-89F8-8DCEF59D6C4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249662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  <p:sldLayoutId id="2147483837" r:id="rId14"/>
    <p:sldLayoutId id="2147483838" r:id="rId15"/>
  </p:sldLayoutIdLst>
  <p:hf hdr="0" ftr="0" dt="0"/>
  <p:txStyles>
    <p:titleStyle>
      <a:lvl1pPr algn="l" defTabSz="685756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8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993" indent="-269993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80000"/>
        <a:buFont typeface="Wingdings" pitchFamily="2" charset="2"/>
        <a:buChar char="n"/>
        <a:defRPr sz="14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11985" indent="-179996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100000"/>
        <a:buFont typeface="Wingdings" pitchFamily="2" charset="2"/>
        <a:buChar char="§"/>
        <a:defRPr sz="1400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043974" indent="-179996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3"/>
        </a:buClr>
        <a:buSzPct val="100000"/>
        <a:buFont typeface="Wingdings" pitchFamily="2" charset="2"/>
        <a:buChar char="§"/>
        <a:defRPr sz="1400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475963" indent="-179996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400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1907952" indent="-179996" algn="l" defTabSz="685756" rtl="0" eaLnBrk="1" latinLnBrk="0" hangingPunct="1">
        <a:lnSpc>
          <a:spcPct val="95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400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1885827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05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83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60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6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3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11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89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67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44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22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1691681" y="285750"/>
            <a:ext cx="7079260" cy="109786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 dirty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1691680" y="1504966"/>
            <a:ext cx="7079258" cy="30146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 dirty="0"/>
              <a:t>Pierwszy poziom tekstu</a:t>
            </a:r>
          </a:p>
          <a:p>
            <a:pPr lvl="1"/>
            <a:r>
              <a:rPr lang="pl-PL" noProof="0" dirty="0"/>
              <a:t>Drugi poziom tekstu</a:t>
            </a:r>
          </a:p>
          <a:p>
            <a:pPr lvl="2"/>
            <a:r>
              <a:rPr lang="pl-PL" noProof="0" dirty="0"/>
              <a:t>Trzeci poziom tekstu</a:t>
            </a:r>
          </a:p>
          <a:p>
            <a:pPr lvl="3"/>
            <a:r>
              <a:rPr lang="pl-PL" noProof="0" dirty="0"/>
              <a:t>Czwarty poziom tekstu</a:t>
            </a:r>
          </a:p>
          <a:p>
            <a:pPr lvl="4"/>
            <a:r>
              <a:rPr lang="pl-PL" noProof="0" dirty="0"/>
              <a:t>Piąty poziom tekstu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12046" y="4866334"/>
            <a:ext cx="216000" cy="149333"/>
          </a:xfrm>
          <a:prstGeom prst="rect">
            <a:avLst/>
          </a:prstGeom>
        </p:spPr>
      </p:pic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5797FB04-C354-0A02-AA3B-9B254CE61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505" y="4821776"/>
            <a:ext cx="70738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7E93A5"/>
                </a:solidFill>
              </a:defRPr>
            </a:lvl1pPr>
          </a:lstStyle>
          <a:p>
            <a:fld id="{D14DEB3C-1A91-4003-91F8-B5EB909C1F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001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54" r:id="rId15"/>
    <p:sldLayoutId id="2147483855" r:id="rId16"/>
  </p:sldLayoutIdLst>
  <p:txStyles>
    <p:titleStyle>
      <a:lvl1pPr algn="l" defTabSz="685756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8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993" indent="-269993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80000"/>
        <a:buFont typeface="Wingdings" pitchFamily="2" charset="2"/>
        <a:buChar char="n"/>
        <a:defRPr sz="14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11985" indent="-179996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SzPct val="100000"/>
        <a:buFont typeface="Wingdings" pitchFamily="2" charset="2"/>
        <a:buChar char="§"/>
        <a:defRPr sz="1400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043974" indent="-179996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3"/>
        </a:buClr>
        <a:buSzPct val="100000"/>
        <a:buFont typeface="Wingdings" pitchFamily="2" charset="2"/>
        <a:buChar char="§"/>
        <a:defRPr sz="1400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475963" indent="-179996" algn="l" defTabSz="685756" rtl="0" eaLnBrk="1" latinLnBrk="0" hangingPunct="1">
        <a:lnSpc>
          <a:spcPct val="82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400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1907952" indent="-179996" algn="l" defTabSz="685756" rtl="0" eaLnBrk="1" latinLnBrk="0" hangingPunct="1">
        <a:lnSpc>
          <a:spcPct val="95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itchFamily="2" charset="2"/>
        <a:buChar char="§"/>
        <a:defRPr sz="1400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1885827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05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83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60" indent="-171439" algn="l" defTabSz="68575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6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3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11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89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67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44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22" algn="l" defTabSz="68575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id="{A65E5522-816B-7922-8041-C5393B2E4A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400" dirty="0">
                <a:latin typeface="Arial Black" panose="020B0A04020102020204" pitchFamily="34" charset="0"/>
              </a:rPr>
              <a:t>New KYC </a:t>
            </a:r>
            <a:r>
              <a:rPr lang="pl-PL" sz="2400" dirty="0" err="1">
                <a:latin typeface="Arial Black" panose="020B0A04020102020204" pitchFamily="34" charset="0"/>
              </a:rPr>
              <a:t>SOLution</a:t>
            </a:r>
            <a:r>
              <a:rPr lang="pl-PL" sz="2400" dirty="0">
                <a:latin typeface="Arial Black" panose="020B0A04020102020204" pitchFamily="34" charset="0"/>
              </a:rPr>
              <a:t>  </a:t>
            </a:r>
            <a:br>
              <a:rPr lang="pl-PL" sz="2400" dirty="0">
                <a:latin typeface="Arial Black" panose="020B0A04020102020204" pitchFamily="34" charset="0"/>
              </a:rPr>
            </a:br>
            <a:r>
              <a:rPr lang="pl-PL" sz="2400" dirty="0">
                <a:latin typeface="Arial Black" panose="020B0A04020102020204" pitchFamily="34" charset="0"/>
              </a:rPr>
              <a:t>CABP</a:t>
            </a:r>
          </a:p>
        </p:txBody>
      </p:sp>
      <p:pic>
        <p:nvPicPr>
          <p:cNvPr id="8" name="Symbol zastępczy obrazu 7" descr="Obraz zawierający tekst, zrzut ekranu, Czcionka, pismo odręczne&#10;&#10;Opis wygenerowany automatycznie">
            <a:extLst>
              <a:ext uri="{FF2B5EF4-FFF2-40B4-BE49-F238E27FC236}">
                <a16:creationId xmlns:a16="http://schemas.microsoft.com/office/drawing/2014/main" id="{BCB5D68C-E493-966B-A750-8BF51DEFD018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2"/>
          <a:srcRect l="16399" r="16399"/>
          <a:stretch>
            <a:fillRect/>
          </a:stretch>
        </p:blipFill>
        <p:spPr/>
      </p:pic>
      <p:sp>
        <p:nvSpPr>
          <p:cNvPr id="5" name="Symbol zastępczy tekstu 3">
            <a:extLst>
              <a:ext uri="{FF2B5EF4-FFF2-40B4-BE49-F238E27FC236}">
                <a16:creationId xmlns:a16="http://schemas.microsoft.com/office/drawing/2014/main" id="{D2385CF3-58A6-4203-348A-9B43CD07CBD7}"/>
              </a:ext>
            </a:extLst>
          </p:cNvPr>
          <p:cNvSpPr txBox="1">
            <a:spLocks/>
          </p:cNvSpPr>
          <p:nvPr/>
        </p:nvSpPr>
        <p:spPr bwMode="gray">
          <a:xfrm>
            <a:off x="4862948" y="3030324"/>
            <a:ext cx="3748254" cy="126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73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SzPct val="80000"/>
              <a:buFontTx/>
              <a:buNone/>
              <a:defRPr sz="1100" b="0" kern="1200" cap="none" baseline="0">
                <a:ln>
                  <a:noFill/>
                </a:ln>
                <a:solidFill>
                  <a:srgbClr val="009597"/>
                </a:solidFill>
                <a:latin typeface="+mj-lt"/>
                <a:ea typeface="+mn-ea"/>
                <a:cs typeface="+mn-cs"/>
              </a:defRPr>
            </a:lvl1pPr>
            <a:lvl2pPr marL="432000" indent="0" algn="l" defTabSz="685773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0" algn="l" defTabSz="685773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00000"/>
              <a:buFontTx/>
              <a:buNone/>
              <a:defRPr sz="1200" kern="1200" cap="none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296000" indent="0" algn="l" defTabSz="685773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Tx/>
              <a:buNone/>
              <a:defRPr sz="12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00" indent="0" algn="l" defTabSz="68577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Tx/>
              <a:buNone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74" indent="-171443" algn="l" defTabSz="685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61" indent="-171443" algn="l" defTabSz="685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47" indent="-171443" algn="l" defTabSz="685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33" indent="-171443" algn="l" defTabSz="685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863499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0">
            <a:extLst>
              <a:ext uri="{FF2B5EF4-FFF2-40B4-BE49-F238E27FC236}">
                <a16:creationId xmlns:a16="http://schemas.microsoft.com/office/drawing/2014/main" id="{DF0B193D-C347-4CFD-843E-86E04CA75A7B}"/>
              </a:ext>
            </a:extLst>
          </p:cNvPr>
          <p:cNvSpPr/>
          <p:nvPr/>
        </p:nvSpPr>
        <p:spPr>
          <a:xfrm rot="7200000">
            <a:off x="3099822" y="2775090"/>
            <a:ext cx="1290960" cy="1815446"/>
          </a:xfrm>
          <a:custGeom>
            <a:avLst/>
            <a:gdLst>
              <a:gd name="connsiteX0" fmla="*/ 0 w 1175657"/>
              <a:gd name="connsiteY0" fmla="*/ 1653299 h 1653299"/>
              <a:gd name="connsiteX1" fmla="*/ 23917 w 1175657"/>
              <a:gd name="connsiteY1" fmla="*/ 1626734 h 1653299"/>
              <a:gd name="connsiteX2" fmla="*/ 319050 w 1175657"/>
              <a:gd name="connsiteY2" fmla="*/ 1205503 h 1653299"/>
              <a:gd name="connsiteX3" fmla="*/ 674461 w 1175657"/>
              <a:gd name="connsiteY3" fmla="*/ 3886 h 1653299"/>
              <a:gd name="connsiteX4" fmla="*/ 674286 w 1175657"/>
              <a:gd name="connsiteY4" fmla="*/ 0 h 1653299"/>
              <a:gd name="connsiteX5" fmla="*/ 782211 w 1175657"/>
              <a:gd name="connsiteY5" fmla="*/ 68947 h 1653299"/>
              <a:gd name="connsiteX6" fmla="*/ 1175657 w 1175657"/>
              <a:gd name="connsiteY6" fmla="*/ 705299 h 1653299"/>
              <a:gd name="connsiteX7" fmla="*/ 123334 w 1175657"/>
              <a:gd name="connsiteY7" fmla="*/ 1627090 h 1653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5657" h="1653299">
                <a:moveTo>
                  <a:pt x="0" y="1653299"/>
                </a:moveTo>
                <a:lnTo>
                  <a:pt x="23917" y="1626734"/>
                </a:lnTo>
                <a:cubicBezTo>
                  <a:pt x="130159" y="1501178"/>
                  <a:pt x="229839" y="1360020"/>
                  <a:pt x="319050" y="1205503"/>
                </a:cubicBezTo>
                <a:cubicBezTo>
                  <a:pt x="556945" y="793457"/>
                  <a:pt x="675345" y="364432"/>
                  <a:pt x="674461" y="3886"/>
                </a:cubicBezTo>
                <a:lnTo>
                  <a:pt x="674286" y="0"/>
                </a:lnTo>
                <a:lnTo>
                  <a:pt x="782211" y="68947"/>
                </a:lnTo>
                <a:cubicBezTo>
                  <a:pt x="1028005" y="241876"/>
                  <a:pt x="1175657" y="463576"/>
                  <a:pt x="1175657" y="705299"/>
                </a:cubicBezTo>
                <a:cubicBezTo>
                  <a:pt x="1175657" y="1119681"/>
                  <a:pt x="741740" y="1475220"/>
                  <a:pt x="123334" y="1627090"/>
                </a:cubicBezTo>
                <a:close/>
              </a:path>
            </a:pathLst>
          </a:custGeom>
          <a:solidFill>
            <a:schemeClr val="accent4"/>
          </a:solidFill>
          <a:ln w="38100">
            <a:solidFill>
              <a:schemeClr val="bg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Freeform: Shape 37">
            <a:extLst>
              <a:ext uri="{FF2B5EF4-FFF2-40B4-BE49-F238E27FC236}">
                <a16:creationId xmlns:a16="http://schemas.microsoft.com/office/drawing/2014/main" id="{C09BB4C1-1EDC-4394-8225-F8F67B464A77}"/>
              </a:ext>
            </a:extLst>
          </p:cNvPr>
          <p:cNvSpPr/>
          <p:nvPr/>
        </p:nvSpPr>
        <p:spPr>
          <a:xfrm rot="3600000">
            <a:off x="4346310" y="2908338"/>
            <a:ext cx="1290962" cy="1815449"/>
          </a:xfrm>
          <a:custGeom>
            <a:avLst/>
            <a:gdLst>
              <a:gd name="connsiteX0" fmla="*/ 674288 w 1175659"/>
              <a:gd name="connsiteY0" fmla="*/ 0 h 1653301"/>
              <a:gd name="connsiteX1" fmla="*/ 782212 w 1175659"/>
              <a:gd name="connsiteY1" fmla="*/ 68948 h 1653301"/>
              <a:gd name="connsiteX2" fmla="*/ 1175659 w 1175659"/>
              <a:gd name="connsiteY2" fmla="*/ 705300 h 1653301"/>
              <a:gd name="connsiteX3" fmla="*/ 123336 w 1175659"/>
              <a:gd name="connsiteY3" fmla="*/ 1627090 h 1653301"/>
              <a:gd name="connsiteX4" fmla="*/ 0 w 1175659"/>
              <a:gd name="connsiteY4" fmla="*/ 1653301 h 1653301"/>
              <a:gd name="connsiteX5" fmla="*/ 23919 w 1175659"/>
              <a:gd name="connsiteY5" fmla="*/ 1626734 h 1653301"/>
              <a:gd name="connsiteX6" fmla="*/ 319051 w 1175659"/>
              <a:gd name="connsiteY6" fmla="*/ 1205503 h 1653301"/>
              <a:gd name="connsiteX7" fmla="*/ 674463 w 1175659"/>
              <a:gd name="connsiteY7" fmla="*/ 3886 h 165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5659" h="1653301">
                <a:moveTo>
                  <a:pt x="674288" y="0"/>
                </a:moveTo>
                <a:lnTo>
                  <a:pt x="782212" y="68948"/>
                </a:lnTo>
                <a:cubicBezTo>
                  <a:pt x="1028007" y="241877"/>
                  <a:pt x="1175659" y="463577"/>
                  <a:pt x="1175659" y="705300"/>
                </a:cubicBezTo>
                <a:cubicBezTo>
                  <a:pt x="1175659" y="1119682"/>
                  <a:pt x="741742" y="1475221"/>
                  <a:pt x="123336" y="1627090"/>
                </a:cubicBezTo>
                <a:lnTo>
                  <a:pt x="0" y="1653301"/>
                </a:lnTo>
                <a:lnTo>
                  <a:pt x="23919" y="1626734"/>
                </a:lnTo>
                <a:cubicBezTo>
                  <a:pt x="130160" y="1501178"/>
                  <a:pt x="229840" y="1360020"/>
                  <a:pt x="319051" y="1205503"/>
                </a:cubicBezTo>
                <a:cubicBezTo>
                  <a:pt x="556946" y="793456"/>
                  <a:pt x="675346" y="364432"/>
                  <a:pt x="674463" y="3886"/>
                </a:cubicBezTo>
                <a:close/>
              </a:path>
            </a:pathLst>
          </a:custGeom>
          <a:solidFill>
            <a:schemeClr val="accent3"/>
          </a:solidFill>
          <a:ln w="38100">
            <a:solidFill>
              <a:schemeClr val="bg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Freeform: Shape 32">
            <a:extLst>
              <a:ext uri="{FF2B5EF4-FFF2-40B4-BE49-F238E27FC236}">
                <a16:creationId xmlns:a16="http://schemas.microsoft.com/office/drawing/2014/main" id="{B0775BB6-C0E4-4AC1-AB19-34066ABF454A}"/>
              </a:ext>
            </a:extLst>
          </p:cNvPr>
          <p:cNvSpPr/>
          <p:nvPr/>
        </p:nvSpPr>
        <p:spPr>
          <a:xfrm>
            <a:off x="2591978" y="1628972"/>
            <a:ext cx="1290961" cy="1815449"/>
          </a:xfrm>
          <a:custGeom>
            <a:avLst/>
            <a:gdLst>
              <a:gd name="connsiteX0" fmla="*/ 1175658 w 1175658"/>
              <a:gd name="connsiteY0" fmla="*/ 0 h 1653301"/>
              <a:gd name="connsiteX1" fmla="*/ 1151740 w 1175658"/>
              <a:gd name="connsiteY1" fmla="*/ 26566 h 1653301"/>
              <a:gd name="connsiteX2" fmla="*/ 856608 w 1175658"/>
              <a:gd name="connsiteY2" fmla="*/ 447798 h 1653301"/>
              <a:gd name="connsiteX3" fmla="*/ 501197 w 1175658"/>
              <a:gd name="connsiteY3" fmla="*/ 1649414 h 1653301"/>
              <a:gd name="connsiteX4" fmla="*/ 501371 w 1175658"/>
              <a:gd name="connsiteY4" fmla="*/ 1653301 h 1653301"/>
              <a:gd name="connsiteX5" fmla="*/ 393447 w 1175658"/>
              <a:gd name="connsiteY5" fmla="*/ 1584353 h 1653301"/>
              <a:gd name="connsiteX6" fmla="*/ 0 w 1175658"/>
              <a:gd name="connsiteY6" fmla="*/ 948001 h 1653301"/>
              <a:gd name="connsiteX7" fmla="*/ 1052323 w 1175658"/>
              <a:gd name="connsiteY7" fmla="*/ 26210 h 165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5658" h="1653301">
                <a:moveTo>
                  <a:pt x="1175658" y="0"/>
                </a:moveTo>
                <a:lnTo>
                  <a:pt x="1151740" y="26566"/>
                </a:lnTo>
                <a:cubicBezTo>
                  <a:pt x="1045499" y="152122"/>
                  <a:pt x="945819" y="293280"/>
                  <a:pt x="856608" y="447798"/>
                </a:cubicBezTo>
                <a:cubicBezTo>
                  <a:pt x="618713" y="859843"/>
                  <a:pt x="500313" y="1288868"/>
                  <a:pt x="501197" y="1649414"/>
                </a:cubicBezTo>
                <a:lnTo>
                  <a:pt x="501371" y="1653301"/>
                </a:lnTo>
                <a:lnTo>
                  <a:pt x="393447" y="1584353"/>
                </a:lnTo>
                <a:cubicBezTo>
                  <a:pt x="147653" y="1411424"/>
                  <a:pt x="0" y="1189724"/>
                  <a:pt x="0" y="948001"/>
                </a:cubicBezTo>
                <a:cubicBezTo>
                  <a:pt x="0" y="533619"/>
                  <a:pt x="433917" y="178080"/>
                  <a:pt x="1052323" y="26210"/>
                </a:cubicBezTo>
                <a:close/>
              </a:path>
            </a:pathLst>
          </a:custGeom>
          <a:solidFill>
            <a:schemeClr val="accent5"/>
          </a:solidFill>
          <a:ln w="38100">
            <a:solidFill>
              <a:schemeClr val="bg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Freeform: Shape 30">
            <a:extLst>
              <a:ext uri="{FF2B5EF4-FFF2-40B4-BE49-F238E27FC236}">
                <a16:creationId xmlns:a16="http://schemas.microsoft.com/office/drawing/2014/main" id="{93382EC9-1646-49C4-9003-27806F48E606}"/>
              </a:ext>
            </a:extLst>
          </p:cNvPr>
          <p:cNvSpPr/>
          <p:nvPr/>
        </p:nvSpPr>
        <p:spPr>
          <a:xfrm>
            <a:off x="5084955" y="1895474"/>
            <a:ext cx="1290962" cy="1815450"/>
          </a:xfrm>
          <a:custGeom>
            <a:avLst/>
            <a:gdLst>
              <a:gd name="connsiteX0" fmla="*/ 674286 w 1175659"/>
              <a:gd name="connsiteY0" fmla="*/ 0 h 1653302"/>
              <a:gd name="connsiteX1" fmla="*/ 782212 w 1175659"/>
              <a:gd name="connsiteY1" fmla="*/ 68949 h 1653302"/>
              <a:gd name="connsiteX2" fmla="*/ 1175659 w 1175659"/>
              <a:gd name="connsiteY2" fmla="*/ 705301 h 1653302"/>
              <a:gd name="connsiteX3" fmla="*/ 123336 w 1175659"/>
              <a:gd name="connsiteY3" fmla="*/ 1627092 h 1653302"/>
              <a:gd name="connsiteX4" fmla="*/ 0 w 1175659"/>
              <a:gd name="connsiteY4" fmla="*/ 1653302 h 1653302"/>
              <a:gd name="connsiteX5" fmla="*/ 23917 w 1175659"/>
              <a:gd name="connsiteY5" fmla="*/ 1626737 h 1653302"/>
              <a:gd name="connsiteX6" fmla="*/ 319050 w 1175659"/>
              <a:gd name="connsiteY6" fmla="*/ 1205505 h 1653302"/>
              <a:gd name="connsiteX7" fmla="*/ 674461 w 1175659"/>
              <a:gd name="connsiteY7" fmla="*/ 3890 h 165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5659" h="1653302">
                <a:moveTo>
                  <a:pt x="674286" y="0"/>
                </a:moveTo>
                <a:lnTo>
                  <a:pt x="782212" y="68949"/>
                </a:lnTo>
                <a:cubicBezTo>
                  <a:pt x="1028007" y="241878"/>
                  <a:pt x="1175659" y="463578"/>
                  <a:pt x="1175659" y="705301"/>
                </a:cubicBezTo>
                <a:cubicBezTo>
                  <a:pt x="1175659" y="1119684"/>
                  <a:pt x="741742" y="1475222"/>
                  <a:pt x="123336" y="1627092"/>
                </a:cubicBezTo>
                <a:lnTo>
                  <a:pt x="0" y="1653302"/>
                </a:lnTo>
                <a:lnTo>
                  <a:pt x="23917" y="1626737"/>
                </a:lnTo>
                <a:cubicBezTo>
                  <a:pt x="130159" y="1501181"/>
                  <a:pt x="229839" y="1360023"/>
                  <a:pt x="319050" y="1205505"/>
                </a:cubicBezTo>
                <a:cubicBezTo>
                  <a:pt x="556945" y="793460"/>
                  <a:pt x="675345" y="364435"/>
                  <a:pt x="674461" y="3890"/>
                </a:cubicBezTo>
                <a:close/>
              </a:path>
            </a:pathLst>
          </a:custGeom>
          <a:solidFill>
            <a:schemeClr val="accent2"/>
          </a:solidFill>
          <a:ln w="38100">
            <a:solidFill>
              <a:schemeClr val="bg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Freeform: Shape 35">
            <a:extLst>
              <a:ext uri="{FF2B5EF4-FFF2-40B4-BE49-F238E27FC236}">
                <a16:creationId xmlns:a16="http://schemas.microsoft.com/office/drawing/2014/main" id="{965E7ADC-1D50-4216-955A-4FE3E1241FD9}"/>
              </a:ext>
            </a:extLst>
          </p:cNvPr>
          <p:cNvSpPr/>
          <p:nvPr/>
        </p:nvSpPr>
        <p:spPr>
          <a:xfrm rot="3600000">
            <a:off x="3330620" y="786870"/>
            <a:ext cx="1290960" cy="1815448"/>
          </a:xfrm>
          <a:custGeom>
            <a:avLst/>
            <a:gdLst>
              <a:gd name="connsiteX0" fmla="*/ 77462 w 1175657"/>
              <a:gd name="connsiteY0" fmla="*/ 650509 h 1653300"/>
              <a:gd name="connsiteX1" fmla="*/ 1052323 w 1175657"/>
              <a:gd name="connsiteY1" fmla="*/ 26209 h 1653300"/>
              <a:gd name="connsiteX2" fmla="*/ 1175657 w 1175657"/>
              <a:gd name="connsiteY2" fmla="*/ 0 h 1653300"/>
              <a:gd name="connsiteX3" fmla="*/ 1151741 w 1175657"/>
              <a:gd name="connsiteY3" fmla="*/ 26564 h 1653300"/>
              <a:gd name="connsiteX4" fmla="*/ 856609 w 1175657"/>
              <a:gd name="connsiteY4" fmla="*/ 447795 h 1653300"/>
              <a:gd name="connsiteX5" fmla="*/ 501197 w 1175657"/>
              <a:gd name="connsiteY5" fmla="*/ 1649411 h 1653300"/>
              <a:gd name="connsiteX6" fmla="*/ 501372 w 1175657"/>
              <a:gd name="connsiteY6" fmla="*/ 1653300 h 1653300"/>
              <a:gd name="connsiteX7" fmla="*/ 393447 w 1175657"/>
              <a:gd name="connsiteY7" fmla="*/ 1584353 h 1653300"/>
              <a:gd name="connsiteX8" fmla="*/ 0 w 1175657"/>
              <a:gd name="connsiteY8" fmla="*/ 948000 h 1653300"/>
              <a:gd name="connsiteX9" fmla="*/ 77462 w 1175657"/>
              <a:gd name="connsiteY9" fmla="*/ 650509 h 165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5657" h="1653300">
                <a:moveTo>
                  <a:pt x="77462" y="650509"/>
                </a:moveTo>
                <a:cubicBezTo>
                  <a:pt x="228489" y="368578"/>
                  <a:pt x="588518" y="140112"/>
                  <a:pt x="1052323" y="26209"/>
                </a:cubicBezTo>
                <a:lnTo>
                  <a:pt x="1175657" y="0"/>
                </a:lnTo>
                <a:lnTo>
                  <a:pt x="1151741" y="26564"/>
                </a:lnTo>
                <a:cubicBezTo>
                  <a:pt x="1045499" y="152119"/>
                  <a:pt x="945819" y="293278"/>
                  <a:pt x="856609" y="447795"/>
                </a:cubicBezTo>
                <a:cubicBezTo>
                  <a:pt x="618714" y="859840"/>
                  <a:pt x="500313" y="1288865"/>
                  <a:pt x="501197" y="1649411"/>
                </a:cubicBezTo>
                <a:lnTo>
                  <a:pt x="501372" y="1653300"/>
                </a:lnTo>
                <a:lnTo>
                  <a:pt x="393447" y="1584353"/>
                </a:lnTo>
                <a:cubicBezTo>
                  <a:pt x="147652" y="1411423"/>
                  <a:pt x="0" y="1189723"/>
                  <a:pt x="0" y="948000"/>
                </a:cubicBezTo>
                <a:cubicBezTo>
                  <a:pt x="0" y="844404"/>
                  <a:pt x="27120" y="744487"/>
                  <a:pt x="77462" y="650509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38100">
            <a:solidFill>
              <a:schemeClr val="bg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Freeform: Shape 41">
            <a:extLst>
              <a:ext uri="{FF2B5EF4-FFF2-40B4-BE49-F238E27FC236}">
                <a16:creationId xmlns:a16="http://schemas.microsoft.com/office/drawing/2014/main" id="{722569CE-731F-4E28-9609-9C2D6A8281A2}"/>
              </a:ext>
            </a:extLst>
          </p:cNvPr>
          <p:cNvSpPr/>
          <p:nvPr/>
        </p:nvSpPr>
        <p:spPr>
          <a:xfrm rot="7200000">
            <a:off x="4577107" y="920122"/>
            <a:ext cx="1290963" cy="1815449"/>
          </a:xfrm>
          <a:custGeom>
            <a:avLst/>
            <a:gdLst>
              <a:gd name="connsiteX0" fmla="*/ 77462 w 1175660"/>
              <a:gd name="connsiteY0" fmla="*/ 1245492 h 1653302"/>
              <a:gd name="connsiteX1" fmla="*/ 0 w 1175660"/>
              <a:gd name="connsiteY1" fmla="*/ 948001 h 1653302"/>
              <a:gd name="connsiteX2" fmla="*/ 1052323 w 1175660"/>
              <a:gd name="connsiteY2" fmla="*/ 26211 h 1653302"/>
              <a:gd name="connsiteX3" fmla="*/ 1175660 w 1175660"/>
              <a:gd name="connsiteY3" fmla="*/ 0 h 1653302"/>
              <a:gd name="connsiteX4" fmla="*/ 1151742 w 1175660"/>
              <a:gd name="connsiteY4" fmla="*/ 26566 h 1653302"/>
              <a:gd name="connsiteX5" fmla="*/ 856610 w 1175660"/>
              <a:gd name="connsiteY5" fmla="*/ 447797 h 1653302"/>
              <a:gd name="connsiteX6" fmla="*/ 501198 w 1175660"/>
              <a:gd name="connsiteY6" fmla="*/ 1649413 h 1653302"/>
              <a:gd name="connsiteX7" fmla="*/ 501373 w 1175660"/>
              <a:gd name="connsiteY7" fmla="*/ 1653302 h 1653302"/>
              <a:gd name="connsiteX8" fmla="*/ 393447 w 1175660"/>
              <a:gd name="connsiteY8" fmla="*/ 1584353 h 1653302"/>
              <a:gd name="connsiteX9" fmla="*/ 77462 w 1175660"/>
              <a:gd name="connsiteY9" fmla="*/ 1245492 h 165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5660" h="1653302">
                <a:moveTo>
                  <a:pt x="77462" y="1245492"/>
                </a:moveTo>
                <a:cubicBezTo>
                  <a:pt x="27120" y="1151514"/>
                  <a:pt x="0" y="1051597"/>
                  <a:pt x="0" y="948001"/>
                </a:cubicBezTo>
                <a:cubicBezTo>
                  <a:pt x="0" y="533619"/>
                  <a:pt x="433917" y="178080"/>
                  <a:pt x="1052323" y="26211"/>
                </a:cubicBezTo>
                <a:lnTo>
                  <a:pt x="1175660" y="0"/>
                </a:lnTo>
                <a:lnTo>
                  <a:pt x="1151742" y="26566"/>
                </a:lnTo>
                <a:cubicBezTo>
                  <a:pt x="1045501" y="152122"/>
                  <a:pt x="945820" y="293280"/>
                  <a:pt x="856610" y="447797"/>
                </a:cubicBezTo>
                <a:cubicBezTo>
                  <a:pt x="618715" y="859842"/>
                  <a:pt x="500314" y="1288867"/>
                  <a:pt x="501198" y="1649413"/>
                </a:cubicBezTo>
                <a:lnTo>
                  <a:pt x="501373" y="1653302"/>
                </a:lnTo>
                <a:lnTo>
                  <a:pt x="393447" y="1584353"/>
                </a:lnTo>
                <a:cubicBezTo>
                  <a:pt x="252993" y="1485536"/>
                  <a:pt x="144585" y="1370795"/>
                  <a:pt x="77462" y="1245492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7E14C73-C3CE-475E-9593-BB59B7D3E0F1}"/>
              </a:ext>
            </a:extLst>
          </p:cNvPr>
          <p:cNvSpPr txBox="1"/>
          <p:nvPr/>
        </p:nvSpPr>
        <p:spPr>
          <a:xfrm>
            <a:off x="205162" y="1693681"/>
            <a:ext cx="2570735" cy="57708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en-US" sz="1050" b="1" kern="0" dirty="0">
                <a:solidFill>
                  <a:schemeClr val="accent2">
                    <a:lumMod val="50000"/>
                  </a:schemeClr>
                </a:solidFill>
              </a:rPr>
              <a:t>Strengthened customers self-revision processes </a:t>
            </a:r>
            <a:r>
              <a:rPr lang="en-US" sz="1050" kern="0" dirty="0">
                <a:solidFill>
                  <a:schemeClr val="accent2">
                    <a:lumMod val="50000"/>
                  </a:schemeClr>
                </a:solidFill>
              </a:rPr>
              <a:t>in remote channels (in all segments)</a:t>
            </a:r>
            <a:r>
              <a:rPr lang="pl-PL" sz="1050" kern="0" dirty="0">
                <a:solidFill>
                  <a:schemeClr val="accent2">
                    <a:lumMod val="50000"/>
                  </a:schemeClr>
                </a:solidFill>
              </a:rPr>
              <a:t>;</a:t>
            </a:r>
            <a:endParaRPr lang="en-US" sz="1050" kern="0" dirty="0">
              <a:solidFill>
                <a:srgbClr val="7E93A5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7E14C73-C3CE-475E-9593-BB59B7D3E0F1}"/>
              </a:ext>
            </a:extLst>
          </p:cNvPr>
          <p:cNvSpPr txBox="1"/>
          <p:nvPr/>
        </p:nvSpPr>
        <p:spPr>
          <a:xfrm>
            <a:off x="5927486" y="3560096"/>
            <a:ext cx="2964262" cy="10618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en-US" sz="1050" b="1" dirty="0">
                <a:solidFill>
                  <a:schemeClr val="accent2">
                    <a:lumMod val="50000"/>
                  </a:schemeClr>
                </a:solidFill>
              </a:rPr>
              <a:t>Stable, perpetual and adoptive KYC management processes including all necessary units</a:t>
            </a:r>
          </a:p>
          <a:p>
            <a:pPr algn="ctr" defTabSz="685800">
              <a:defRPr/>
            </a:pPr>
            <a:r>
              <a:rPr lang="en-US" sz="1050" dirty="0">
                <a:solidFill>
                  <a:schemeClr val="accent2">
                    <a:lumMod val="50000"/>
                  </a:schemeClr>
                </a:solidFill>
              </a:rPr>
              <a:t>(communication, revision, trigger events and alerts treatment, blocking, contracts termination);</a:t>
            </a:r>
          </a:p>
        </p:txBody>
      </p:sp>
      <p:sp>
        <p:nvSpPr>
          <p:cNvPr id="4" name="TextBox 55">
            <a:extLst>
              <a:ext uri="{FF2B5EF4-FFF2-40B4-BE49-F238E27FC236}">
                <a16:creationId xmlns:a16="http://schemas.microsoft.com/office/drawing/2014/main" id="{D4794E9D-90D4-1084-9454-7109090F1346}"/>
              </a:ext>
            </a:extLst>
          </p:cNvPr>
          <p:cNvSpPr txBox="1"/>
          <p:nvPr/>
        </p:nvSpPr>
        <p:spPr>
          <a:xfrm>
            <a:off x="6411209" y="1761741"/>
            <a:ext cx="2570735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en-US" sz="1050" b="1" kern="0">
                <a:solidFill>
                  <a:schemeClr val="accent2">
                    <a:lumMod val="50000"/>
                  </a:schemeClr>
                </a:solidFill>
              </a:rPr>
              <a:t>Well sealed, efficient and automated sales &amp; revision processes </a:t>
            </a:r>
            <a:r>
              <a:rPr lang="en-US" sz="1050" kern="0">
                <a:solidFill>
                  <a:schemeClr val="accent2">
                    <a:lumMod val="50000"/>
                  </a:schemeClr>
                </a:solidFill>
              </a:rPr>
              <a:t>successfully integrated with external databases;</a:t>
            </a:r>
            <a:endParaRPr lang="en-US" sz="105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1" name="TextBox 51">
            <a:extLst>
              <a:ext uri="{FF2B5EF4-FFF2-40B4-BE49-F238E27FC236}">
                <a16:creationId xmlns:a16="http://schemas.microsoft.com/office/drawing/2014/main" id="{1F3BFBE4-A960-DD1E-4E27-AA3289288D69}"/>
              </a:ext>
            </a:extLst>
          </p:cNvPr>
          <p:cNvSpPr txBox="1"/>
          <p:nvPr/>
        </p:nvSpPr>
        <p:spPr>
          <a:xfrm>
            <a:off x="3462178" y="2172874"/>
            <a:ext cx="1898903" cy="116955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indent="0" algn="ctr">
              <a:buNone/>
            </a:pPr>
            <a:r>
              <a:rPr lang="en-US" sz="1400" b="1" dirty="0">
                <a:solidFill>
                  <a:srgbClr val="7E93A5"/>
                </a:solidFill>
              </a:rPr>
              <a:t>To achieve the ≥98% result in Customers KYC data quality and quantity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A1DED35E-83B8-167D-0334-B90AD2443D4B}"/>
              </a:ext>
            </a:extLst>
          </p:cNvPr>
          <p:cNvSpPr txBox="1"/>
          <p:nvPr/>
        </p:nvSpPr>
        <p:spPr>
          <a:xfrm>
            <a:off x="252252" y="3655519"/>
            <a:ext cx="2761431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en-US" sz="1050" b="1" kern="0" dirty="0">
                <a:solidFill>
                  <a:schemeClr val="accent2">
                    <a:lumMod val="50000"/>
                  </a:schemeClr>
                </a:solidFill>
              </a:rPr>
              <a:t>Clear view on the Customers files especially those in several roles</a:t>
            </a:r>
            <a:r>
              <a:rPr lang="en-US" sz="105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</a:p>
          <a:p>
            <a:pPr algn="ctr" defTabSz="685800">
              <a:defRPr/>
            </a:pPr>
            <a:r>
              <a:rPr lang="en-US" sz="1050" kern="0" dirty="0">
                <a:solidFill>
                  <a:schemeClr val="accent2">
                    <a:lumMod val="50000"/>
                  </a:schemeClr>
                </a:solidFill>
              </a:rPr>
              <a:t>(</a:t>
            </a:r>
            <a:r>
              <a:rPr lang="en-US" sz="1050" kern="0" dirty="0" err="1">
                <a:solidFill>
                  <a:schemeClr val="accent2">
                    <a:lumMod val="50000"/>
                  </a:schemeClr>
                </a:solidFill>
              </a:rPr>
              <a:t>eg.</a:t>
            </a:r>
            <a:r>
              <a:rPr lang="en-US" sz="1050" kern="0" dirty="0">
                <a:solidFill>
                  <a:schemeClr val="accent2">
                    <a:lumMod val="50000"/>
                  </a:schemeClr>
                </a:solidFill>
              </a:rPr>
              <a:t> Retail being SOHO and attorney to another product)</a:t>
            </a:r>
            <a:r>
              <a:rPr lang="pl-PL" sz="1050" kern="0" dirty="0">
                <a:solidFill>
                  <a:schemeClr val="accent2">
                    <a:lumMod val="50000"/>
                  </a:schemeClr>
                </a:solidFill>
              </a:rPr>
              <a:t>;</a:t>
            </a:r>
            <a:endParaRPr lang="en-US" sz="105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TextBox 55">
            <a:extLst>
              <a:ext uri="{FF2B5EF4-FFF2-40B4-BE49-F238E27FC236}">
                <a16:creationId xmlns:a16="http://schemas.microsoft.com/office/drawing/2014/main" id="{190A1B77-A439-0EAF-191A-859C2476DEF1}"/>
              </a:ext>
            </a:extLst>
          </p:cNvPr>
          <p:cNvSpPr txBox="1"/>
          <p:nvPr/>
        </p:nvSpPr>
        <p:spPr>
          <a:xfrm>
            <a:off x="6375917" y="2757649"/>
            <a:ext cx="2797187" cy="57708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en-US" sz="1050" b="1" kern="0" dirty="0">
                <a:solidFill>
                  <a:schemeClr val="accent2">
                    <a:lumMod val="50000"/>
                  </a:schemeClr>
                </a:solidFill>
              </a:rPr>
              <a:t>Satisfactory level of the </a:t>
            </a:r>
            <a:r>
              <a:rPr lang="pl-PL" sz="1050" b="1" kern="0" dirty="0">
                <a:solidFill>
                  <a:schemeClr val="accent2">
                    <a:lumMod val="50000"/>
                  </a:schemeClr>
                </a:solidFill>
              </a:rPr>
              <a:t>KYC </a:t>
            </a:r>
            <a:r>
              <a:rPr lang="en-US" sz="1050" b="1" kern="0" dirty="0">
                <a:solidFill>
                  <a:schemeClr val="accent2">
                    <a:lumMod val="50000"/>
                  </a:schemeClr>
                </a:solidFill>
              </a:rPr>
              <a:t>data collected by all channels in all segments</a:t>
            </a:r>
            <a:r>
              <a:rPr lang="pl-PL" sz="1050" b="1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US" sz="1050" kern="0" dirty="0">
                <a:solidFill>
                  <a:schemeClr val="accent2">
                    <a:lumMod val="50000"/>
                  </a:schemeClr>
                </a:solidFill>
              </a:rPr>
              <a:t>(especially SME and Corporate)</a:t>
            </a:r>
            <a:r>
              <a:rPr lang="pl-PL" sz="1050" kern="0" dirty="0">
                <a:solidFill>
                  <a:schemeClr val="accent2">
                    <a:lumMod val="50000"/>
                  </a:schemeClr>
                </a:solidFill>
              </a:rPr>
              <a:t>;</a:t>
            </a:r>
            <a:endParaRPr lang="en-US" sz="105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4" name="TextBox 55">
            <a:extLst>
              <a:ext uri="{FF2B5EF4-FFF2-40B4-BE49-F238E27FC236}">
                <a16:creationId xmlns:a16="http://schemas.microsoft.com/office/drawing/2014/main" id="{3D49AA28-3129-2458-7348-DEA5ECE78343}"/>
              </a:ext>
            </a:extLst>
          </p:cNvPr>
          <p:cNvSpPr txBox="1"/>
          <p:nvPr/>
        </p:nvSpPr>
        <p:spPr>
          <a:xfrm>
            <a:off x="21243" y="2651635"/>
            <a:ext cx="2570735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en-US" sz="1050" b="1" kern="0" dirty="0">
                <a:solidFill>
                  <a:schemeClr val="accent2">
                    <a:lumMod val="50000"/>
                  </a:schemeClr>
                </a:solidFill>
              </a:rPr>
              <a:t>Efficient system solutions </a:t>
            </a:r>
            <a:r>
              <a:rPr lang="en-US" sz="1050" kern="0" dirty="0">
                <a:solidFill>
                  <a:schemeClr val="accent2">
                    <a:lumMod val="50000"/>
                  </a:schemeClr>
                </a:solidFill>
              </a:rPr>
              <a:t>for proper, fast and efficient data gathering, management and reporting</a:t>
            </a:r>
            <a:r>
              <a:rPr lang="pl-PL" sz="1050" kern="0" dirty="0">
                <a:solidFill>
                  <a:schemeClr val="accent2">
                    <a:lumMod val="50000"/>
                  </a:schemeClr>
                </a:solidFill>
              </a:rPr>
              <a:t>;</a:t>
            </a:r>
          </a:p>
          <a:p>
            <a:pPr algn="ctr" defTabSz="685800">
              <a:defRPr/>
            </a:pPr>
            <a:r>
              <a:rPr lang="pl-PL" sz="1050" b="1" kern="0" dirty="0">
                <a:solidFill>
                  <a:schemeClr val="accent2">
                    <a:lumMod val="50000"/>
                  </a:schemeClr>
                </a:solidFill>
              </a:rPr>
              <a:t>=&gt; Compliance by design</a:t>
            </a:r>
            <a:endParaRPr lang="en-US" sz="1050" b="1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C6007E59-2B22-CC14-F778-31F7277A3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51" y="47088"/>
            <a:ext cx="8118475" cy="565150"/>
          </a:xfrm>
        </p:spPr>
        <p:txBody>
          <a:bodyPr anchor="ctr"/>
          <a:lstStyle/>
          <a:p>
            <a:r>
              <a:rPr lang="pl-PL" sz="2000" dirty="0"/>
              <a:t>New KYC </a:t>
            </a:r>
            <a:r>
              <a:rPr lang="pl-PL" sz="2000" dirty="0" err="1"/>
              <a:t>solution</a:t>
            </a:r>
            <a:r>
              <a:rPr lang="pl-PL" sz="2000" dirty="0"/>
              <a:t>- </a:t>
            </a:r>
            <a:r>
              <a:rPr lang="pl-PL" sz="2000" dirty="0" err="1"/>
              <a:t>Goals</a:t>
            </a:r>
            <a:endParaRPr lang="en-US" sz="2000" dirty="0"/>
          </a:p>
        </p:txBody>
      </p:sp>
      <p:sp>
        <p:nvSpPr>
          <p:cNvPr id="2" name="TextBox 51">
            <a:extLst>
              <a:ext uri="{FF2B5EF4-FFF2-40B4-BE49-F238E27FC236}">
                <a16:creationId xmlns:a16="http://schemas.microsoft.com/office/drawing/2014/main" id="{F2CFC450-0DAF-B420-D3C7-7A03ABBDB9D3}"/>
              </a:ext>
            </a:extLst>
          </p:cNvPr>
          <p:cNvSpPr txBox="1"/>
          <p:nvPr/>
        </p:nvSpPr>
        <p:spPr>
          <a:xfrm>
            <a:off x="3199788" y="349399"/>
            <a:ext cx="2570735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pl-PL" sz="2000" b="1" dirty="0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To </a:t>
            </a:r>
            <a:r>
              <a:rPr lang="pl-PL" sz="2000" b="1" dirty="0" err="1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know</a:t>
            </a:r>
            <a:r>
              <a:rPr lang="pl-PL" sz="2000" b="1" dirty="0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 </a:t>
            </a:r>
            <a:r>
              <a:rPr lang="pl-PL" sz="2000" b="1" dirty="0" err="1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our</a:t>
            </a:r>
            <a:r>
              <a:rPr lang="pl-PL" sz="2000" b="1" dirty="0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 </a:t>
            </a:r>
            <a:r>
              <a:rPr lang="pl-PL" sz="2000" b="1" dirty="0" err="1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Customers</a:t>
            </a:r>
            <a:r>
              <a:rPr lang="pl-PL" sz="2000" b="1" dirty="0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 </a:t>
            </a:r>
            <a:r>
              <a:rPr lang="pl-PL" sz="2000" b="1" dirty="0" err="1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better</a:t>
            </a:r>
            <a:endParaRPr lang="en-US" sz="2000" b="1" kern="0" dirty="0">
              <a:solidFill>
                <a:srgbClr val="009597"/>
              </a:solidFill>
            </a:endParaRPr>
          </a:p>
        </p:txBody>
      </p:sp>
      <p:sp>
        <p:nvSpPr>
          <p:cNvPr id="3" name="TextBox 51">
            <a:extLst>
              <a:ext uri="{FF2B5EF4-FFF2-40B4-BE49-F238E27FC236}">
                <a16:creationId xmlns:a16="http://schemas.microsoft.com/office/drawing/2014/main" id="{B323B5E3-DD79-1AA8-2436-E955D7256883}"/>
              </a:ext>
            </a:extLst>
          </p:cNvPr>
          <p:cNvSpPr txBox="1"/>
          <p:nvPr/>
        </p:nvSpPr>
        <p:spPr>
          <a:xfrm>
            <a:off x="667933" y="1031266"/>
            <a:ext cx="2570735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pl-PL" sz="1050" b="1" dirty="0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To e</a:t>
            </a:r>
            <a:r>
              <a:rPr lang="en-US" sz="1050" b="1" dirty="0" err="1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nsure</a:t>
            </a:r>
            <a:r>
              <a:rPr lang="en-US" sz="1050" b="1" dirty="0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 compliance with KYC legal requirements</a:t>
            </a:r>
            <a:r>
              <a:rPr lang="pl-PL" sz="1050" b="1" dirty="0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 (</a:t>
            </a:r>
            <a:r>
              <a:rPr lang="pl-PL" sz="1050" b="1" dirty="0">
                <a:solidFill>
                  <a:srgbClr val="FF0000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GIIF </a:t>
            </a:r>
            <a:r>
              <a:rPr lang="pl-PL" sz="1050" b="1" dirty="0" err="1">
                <a:solidFill>
                  <a:srgbClr val="FF0000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Reco</a:t>
            </a:r>
            <a:r>
              <a:rPr lang="pl-PL" sz="1050" b="1" dirty="0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)</a:t>
            </a:r>
            <a:endParaRPr lang="en-US" sz="1050" b="1" kern="0" dirty="0">
              <a:solidFill>
                <a:srgbClr val="009597"/>
              </a:solidFill>
            </a:endParaRPr>
          </a:p>
        </p:txBody>
      </p:sp>
      <p:sp>
        <p:nvSpPr>
          <p:cNvPr id="13" name="TextBox 51">
            <a:extLst>
              <a:ext uri="{FF2B5EF4-FFF2-40B4-BE49-F238E27FC236}">
                <a16:creationId xmlns:a16="http://schemas.microsoft.com/office/drawing/2014/main" id="{4D6E53CE-8D61-3651-EDA9-370D14791958}"/>
              </a:ext>
            </a:extLst>
          </p:cNvPr>
          <p:cNvSpPr txBox="1"/>
          <p:nvPr/>
        </p:nvSpPr>
        <p:spPr>
          <a:xfrm>
            <a:off x="5998899" y="1003082"/>
            <a:ext cx="2570735" cy="57708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pl-PL" sz="1050" b="1" dirty="0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To m</a:t>
            </a:r>
            <a:r>
              <a:rPr lang="en-US" sz="1050" b="1" dirty="0" err="1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ake</a:t>
            </a:r>
            <a:r>
              <a:rPr lang="en-US" sz="1050" b="1" dirty="0">
                <a:solidFill>
                  <a:srgbClr val="009597"/>
                </a:solidFill>
                <a:latin typeface="Open Sans Regular" pitchFamily="34" charset="0"/>
                <a:ea typeface="Open Sans Regular" pitchFamily="34" charset="-122"/>
                <a:cs typeface="Open Sans Regular" pitchFamily="34" charset="-120"/>
              </a:rPr>
              <a:t> KYC processes user-friendly and value-creating for the organization</a:t>
            </a:r>
            <a:endParaRPr lang="en-US" sz="1050" b="1" kern="0" dirty="0">
              <a:solidFill>
                <a:srgbClr val="009597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7139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4ABC067-22E8-F9BB-5801-712F3EFE4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ML risk – portfolio structure</a:t>
            </a:r>
          </a:p>
        </p:txBody>
      </p:sp>
      <p:graphicFrame>
        <p:nvGraphicFramePr>
          <p:cNvPr id="5" name="Tabela 5">
            <a:extLst>
              <a:ext uri="{FF2B5EF4-FFF2-40B4-BE49-F238E27FC236}">
                <a16:creationId xmlns:a16="http://schemas.microsoft.com/office/drawing/2014/main" id="{2CD8F579-86BF-4BCE-AE9F-B2291DE65862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96061319"/>
              </p:ext>
            </p:extLst>
          </p:nvPr>
        </p:nvGraphicFramePr>
        <p:xfrm>
          <a:off x="675378" y="968459"/>
          <a:ext cx="8126412" cy="2451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0916">
                  <a:extLst>
                    <a:ext uri="{9D8B030D-6E8A-4147-A177-3AD203B41FA5}">
                      <a16:colId xmlns:a16="http://schemas.microsoft.com/office/drawing/2014/main" val="2262448271"/>
                    </a:ext>
                  </a:extLst>
                </a:gridCol>
                <a:gridCol w="1160916">
                  <a:extLst>
                    <a:ext uri="{9D8B030D-6E8A-4147-A177-3AD203B41FA5}">
                      <a16:colId xmlns:a16="http://schemas.microsoft.com/office/drawing/2014/main" val="813724179"/>
                    </a:ext>
                  </a:extLst>
                </a:gridCol>
                <a:gridCol w="1160916">
                  <a:extLst>
                    <a:ext uri="{9D8B030D-6E8A-4147-A177-3AD203B41FA5}">
                      <a16:colId xmlns:a16="http://schemas.microsoft.com/office/drawing/2014/main" val="2177553163"/>
                    </a:ext>
                  </a:extLst>
                </a:gridCol>
                <a:gridCol w="1160916">
                  <a:extLst>
                    <a:ext uri="{9D8B030D-6E8A-4147-A177-3AD203B41FA5}">
                      <a16:colId xmlns:a16="http://schemas.microsoft.com/office/drawing/2014/main" val="855984762"/>
                    </a:ext>
                  </a:extLst>
                </a:gridCol>
                <a:gridCol w="1160916">
                  <a:extLst>
                    <a:ext uri="{9D8B030D-6E8A-4147-A177-3AD203B41FA5}">
                      <a16:colId xmlns:a16="http://schemas.microsoft.com/office/drawing/2014/main" val="3376774038"/>
                    </a:ext>
                  </a:extLst>
                </a:gridCol>
                <a:gridCol w="1160916">
                  <a:extLst>
                    <a:ext uri="{9D8B030D-6E8A-4147-A177-3AD203B41FA5}">
                      <a16:colId xmlns:a16="http://schemas.microsoft.com/office/drawing/2014/main" val="1494612535"/>
                    </a:ext>
                  </a:extLst>
                </a:gridCol>
                <a:gridCol w="1160916">
                  <a:extLst>
                    <a:ext uri="{9D8B030D-6E8A-4147-A177-3AD203B41FA5}">
                      <a16:colId xmlns:a16="http://schemas.microsoft.com/office/drawing/2014/main" val="6393942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AML ri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JDG/RI</a:t>
                      </a:r>
                    </a:p>
                    <a:p>
                      <a:pPr algn="ctr"/>
                      <a:r>
                        <a:rPr lang="en-US" sz="1100" b="0" dirty="0"/>
                        <a:t>sole proprietorships and individual farmers</a:t>
                      </a:r>
                      <a:endParaRPr lang="pl-PL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mpanies and other legal forms</a:t>
                      </a:r>
                      <a:endParaRPr lang="pl-PL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SME/AGRO portfoli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883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latin typeface="+mn-lt"/>
                        </a:rPr>
                        <a:t>VH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3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>
                          <a:latin typeface="+mn-lt"/>
                        </a:rPr>
                        <a:t>0,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6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>
                          <a:latin typeface="+mn-lt"/>
                        </a:rPr>
                        <a:t>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88339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latin typeface="+mn-lt"/>
                        </a:rPr>
                        <a:t>H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7 95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>
                          <a:latin typeface="+mn-lt"/>
                        </a:rPr>
                        <a:t>1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4 08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>
                          <a:latin typeface="+mn-lt"/>
                        </a:rPr>
                        <a:t>3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0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983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sz="1200" dirty="0" err="1">
                          <a:latin typeface="+mn-lt"/>
                        </a:rPr>
                        <a:t>Normal</a:t>
                      </a:r>
                      <a:endParaRPr lang="pl-PL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44 47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>
                          <a:latin typeface="+mn-lt"/>
                        </a:rPr>
                        <a:t>84,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7 88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>
                          <a:latin typeface="+mn-lt"/>
                        </a:rPr>
                        <a:t>63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 3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21726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l-PL" sz="1200" dirty="0">
                          <a:latin typeface="+mn-lt"/>
                        </a:rPr>
                        <a:t>T</a:t>
                      </a:r>
                      <a:r>
                        <a:rPr lang="pl-PL" sz="1200">
                          <a:latin typeface="+mn-lt"/>
                        </a:rPr>
                        <a:t>otal</a:t>
                      </a:r>
                      <a:endParaRPr lang="pl-PL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52 80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>
                          <a:latin typeface="+mn-lt"/>
                        </a:rPr>
                        <a:t>1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12 58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>
                          <a:latin typeface="+mn-lt"/>
                        </a:rPr>
                        <a:t>1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 3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0584604"/>
                  </a:ext>
                </a:extLst>
              </a:tr>
            </a:tbl>
          </a:graphicData>
        </a:graphic>
      </p:graphicFrame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FB14DF69-0FD8-0F1D-AC02-FAEECA2D87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3</a:t>
            </a:fld>
            <a:endParaRPr lang="pl-PL" dirty="0"/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303039E6-FA76-4893-B6CB-09DC8FDEB5F2}"/>
              </a:ext>
            </a:extLst>
          </p:cNvPr>
          <p:cNvSpPr txBox="1"/>
          <p:nvPr/>
        </p:nvSpPr>
        <p:spPr>
          <a:xfrm>
            <a:off x="611956" y="3561246"/>
            <a:ext cx="811847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riteria increasing the level of risk</a:t>
            </a:r>
            <a:r>
              <a:rPr lang="pl-PL" sz="1200" dirty="0"/>
              <a:t>, recommended for liberalisation</a:t>
            </a:r>
            <a:r>
              <a:rPr lang="en-US" sz="1200" dirty="0"/>
              <a:t>:</a:t>
            </a:r>
            <a:endParaRPr lang="pl-PL" sz="1200" dirty="0"/>
          </a:p>
          <a:p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ountry of birth of the beneficiary or of the person in relation to the account if included in the ‘list of countries at risk’</a:t>
            </a:r>
            <a:r>
              <a:rPr lang="pl-PL" sz="1200" dirty="0"/>
              <a:t> - </a:t>
            </a:r>
            <a:r>
              <a:rPr lang="en-US" sz="1200" dirty="0"/>
              <a:t>e.g. a customer born in Russia and a citizen of Ukra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he client runs the company through a virtual office - it can be excluded for some PKD, e.g. consultants, IT programmers, computer graphic designers, freelancers, copywriters, start-ups etc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PKD higher risk - the company's employees from the CA group can be excluded (e.g. PKD financial intermediation)</a:t>
            </a:r>
          </a:p>
        </p:txBody>
      </p:sp>
    </p:spTree>
    <p:extLst>
      <p:ext uri="{BB962C8B-B14F-4D97-AF65-F5344CB8AC3E}">
        <p14:creationId xmlns:p14="http://schemas.microsoft.com/office/powerpoint/2010/main" val="19339119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A50AAE1-FF16-6218-174F-1C1C0F435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ME/AGRO KYC revision</a:t>
            </a:r>
            <a:br>
              <a:rPr lang="pl-P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1200" dirty="0">
                <a:solidFill>
                  <a:srgbClr val="92D05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n 2026</a:t>
            </a:r>
            <a:endParaRPr lang="pl-PL" sz="1200" b="0" dirty="0">
              <a:solidFill>
                <a:srgbClr val="92D05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A5FACE18-59E8-8026-48B0-7533C46DFC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262997">
              <a:defRPr/>
            </a:pPr>
            <a:fld id="{332DF002-2E43-485C-89F8-8DCEF59D6C4F}" type="slidenum">
              <a:rPr lang="pl-PL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pPr defTabSz="262997">
                <a:defRPr/>
              </a:pPr>
              <a:t>4</a:t>
            </a:fld>
            <a:endParaRPr lang="pl-PL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14ADA5C3-56DE-4AF1-A92C-E7CB31B479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8307525"/>
              </p:ext>
            </p:extLst>
          </p:nvPr>
        </p:nvGraphicFramePr>
        <p:xfrm>
          <a:off x="701676" y="906236"/>
          <a:ext cx="7958999" cy="36975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ymek mowy: prostokąt z zaokrąglonymi rogami 3">
            <a:extLst>
              <a:ext uri="{FF2B5EF4-FFF2-40B4-BE49-F238E27FC236}">
                <a16:creationId xmlns:a16="http://schemas.microsoft.com/office/drawing/2014/main" id="{A0E344EF-FAD3-4A56-967A-1556AB53E061}"/>
              </a:ext>
            </a:extLst>
          </p:cNvPr>
          <p:cNvSpPr/>
          <p:nvPr/>
        </p:nvSpPr>
        <p:spPr>
          <a:xfrm>
            <a:off x="5656564" y="578531"/>
            <a:ext cx="1737669" cy="760632"/>
          </a:xfrm>
          <a:prstGeom prst="wedgeRoundRectCallout">
            <a:avLst>
              <a:gd name="adj1" fmla="val -59767"/>
              <a:gd name="adj2" fmla="val 39542"/>
              <a:gd name="adj3" fmla="val 16667"/>
            </a:avLst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62997"/>
            <a:r>
              <a:rPr lang="en-US" sz="900" dirty="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cluding 7,300 additional reviews (in July, a reduction in the time of periodic reviews for HR will be implemented)</a:t>
            </a:r>
            <a:endParaRPr lang="pl-PL" sz="900" dirty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8B0D3CE0-F8C6-1952-2F7E-73E0BCD58D28}"/>
              </a:ext>
            </a:extLst>
          </p:cNvPr>
          <p:cNvGrpSpPr/>
          <p:nvPr/>
        </p:nvGrpSpPr>
        <p:grpSpPr>
          <a:xfrm>
            <a:off x="5336223" y="2800023"/>
            <a:ext cx="1035797" cy="847647"/>
            <a:chOff x="5580346" y="1845519"/>
            <a:chExt cx="765062" cy="847647"/>
          </a:xfrm>
          <a:solidFill>
            <a:schemeClr val="tx2">
              <a:lumMod val="75000"/>
            </a:schemeClr>
          </a:solidFill>
        </p:grpSpPr>
        <p:sp>
          <p:nvSpPr>
            <p:cNvPr id="6" name="Prostokąt: zaokrąglone rogi 5">
              <a:extLst>
                <a:ext uri="{FF2B5EF4-FFF2-40B4-BE49-F238E27FC236}">
                  <a16:creationId xmlns:a16="http://schemas.microsoft.com/office/drawing/2014/main" id="{9559EA00-646C-BE4E-0B72-B1AA0E4BC19D}"/>
                </a:ext>
              </a:extLst>
            </p:cNvPr>
            <p:cNvSpPr/>
            <p:nvPr/>
          </p:nvSpPr>
          <p:spPr>
            <a:xfrm>
              <a:off x="5580346" y="1845519"/>
              <a:ext cx="765062" cy="847647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pl-PL"/>
            </a:p>
          </p:txBody>
        </p:sp>
        <p:sp>
          <p:nvSpPr>
            <p:cNvPr id="8" name="Prostokąt: zaokrąglone rogi 4">
              <a:extLst>
                <a:ext uri="{FF2B5EF4-FFF2-40B4-BE49-F238E27FC236}">
                  <a16:creationId xmlns:a16="http://schemas.microsoft.com/office/drawing/2014/main" id="{27E7EFEF-BE3E-E6D5-820F-E58B8354E736}"/>
                </a:ext>
              </a:extLst>
            </p:cNvPr>
            <p:cNvSpPr txBox="1"/>
            <p:nvPr/>
          </p:nvSpPr>
          <p:spPr>
            <a:xfrm>
              <a:off x="5602754" y="1867927"/>
              <a:ext cx="720246" cy="80283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pl-PL" sz="1000" kern="1200" dirty="0"/>
            </a:p>
          </p:txBody>
        </p:sp>
      </p:grpSp>
      <p:grpSp>
        <p:nvGrpSpPr>
          <p:cNvPr id="11" name="Grupa 10">
            <a:extLst>
              <a:ext uri="{FF2B5EF4-FFF2-40B4-BE49-F238E27FC236}">
                <a16:creationId xmlns:a16="http://schemas.microsoft.com/office/drawing/2014/main" id="{183738EB-D8C8-D8BA-263D-2296E7C16EF2}"/>
              </a:ext>
            </a:extLst>
          </p:cNvPr>
          <p:cNvGrpSpPr/>
          <p:nvPr/>
        </p:nvGrpSpPr>
        <p:grpSpPr>
          <a:xfrm>
            <a:off x="6482521" y="2800675"/>
            <a:ext cx="1035797" cy="847647"/>
            <a:chOff x="5580346" y="1845519"/>
            <a:chExt cx="765062" cy="847647"/>
          </a:xfrm>
          <a:solidFill>
            <a:srgbClr val="FFCC00"/>
          </a:solidFill>
        </p:grpSpPr>
        <p:sp>
          <p:nvSpPr>
            <p:cNvPr id="12" name="Prostokąt: zaokrąglone rogi 11">
              <a:extLst>
                <a:ext uri="{FF2B5EF4-FFF2-40B4-BE49-F238E27FC236}">
                  <a16:creationId xmlns:a16="http://schemas.microsoft.com/office/drawing/2014/main" id="{1F310563-3419-38A7-ED41-65391A2A45B9}"/>
                </a:ext>
              </a:extLst>
            </p:cNvPr>
            <p:cNvSpPr/>
            <p:nvPr/>
          </p:nvSpPr>
          <p:spPr>
            <a:xfrm>
              <a:off x="5580346" y="1845519"/>
              <a:ext cx="765062" cy="847647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pl-PL"/>
            </a:p>
          </p:txBody>
        </p:sp>
        <p:sp>
          <p:nvSpPr>
            <p:cNvPr id="13" name="Prostokąt: zaokrąglone rogi 4">
              <a:extLst>
                <a:ext uri="{FF2B5EF4-FFF2-40B4-BE49-F238E27FC236}">
                  <a16:creationId xmlns:a16="http://schemas.microsoft.com/office/drawing/2014/main" id="{C707B14C-1BCF-DC01-8442-E4F0DFE3720E}"/>
                </a:ext>
              </a:extLst>
            </p:cNvPr>
            <p:cNvSpPr txBox="1"/>
            <p:nvPr/>
          </p:nvSpPr>
          <p:spPr>
            <a:xfrm>
              <a:off x="5602754" y="1867927"/>
              <a:ext cx="720246" cy="80283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pl-PL" sz="1000" kern="1200" dirty="0"/>
            </a:p>
          </p:txBody>
        </p:sp>
      </p:grpSp>
      <p:grpSp>
        <p:nvGrpSpPr>
          <p:cNvPr id="14" name="Grupa 13">
            <a:extLst>
              <a:ext uri="{FF2B5EF4-FFF2-40B4-BE49-F238E27FC236}">
                <a16:creationId xmlns:a16="http://schemas.microsoft.com/office/drawing/2014/main" id="{70B03F61-BFEA-A019-4EA8-FDA4E61BEE64}"/>
              </a:ext>
            </a:extLst>
          </p:cNvPr>
          <p:cNvGrpSpPr/>
          <p:nvPr/>
        </p:nvGrpSpPr>
        <p:grpSpPr>
          <a:xfrm>
            <a:off x="7628819" y="2800022"/>
            <a:ext cx="1035797" cy="847647"/>
            <a:chOff x="5580346" y="1845519"/>
            <a:chExt cx="765062" cy="847647"/>
          </a:xfrm>
        </p:grpSpPr>
        <p:sp>
          <p:nvSpPr>
            <p:cNvPr id="15" name="Prostokąt: zaokrąglone rogi 14">
              <a:extLst>
                <a:ext uri="{FF2B5EF4-FFF2-40B4-BE49-F238E27FC236}">
                  <a16:creationId xmlns:a16="http://schemas.microsoft.com/office/drawing/2014/main" id="{76B686AF-C35E-EF32-E2E8-67DB55D5A1B8}"/>
                </a:ext>
              </a:extLst>
            </p:cNvPr>
            <p:cNvSpPr/>
            <p:nvPr/>
          </p:nvSpPr>
          <p:spPr>
            <a:xfrm>
              <a:off x="5580346" y="1845519"/>
              <a:ext cx="765062" cy="84764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pl-PL"/>
            </a:p>
          </p:txBody>
        </p:sp>
        <p:sp>
          <p:nvSpPr>
            <p:cNvPr id="16" name="Prostokąt: zaokrąglone rogi 4">
              <a:extLst>
                <a:ext uri="{FF2B5EF4-FFF2-40B4-BE49-F238E27FC236}">
                  <a16:creationId xmlns:a16="http://schemas.microsoft.com/office/drawing/2014/main" id="{94E08381-678F-8116-29AA-9FC4EBBB8706}"/>
                </a:ext>
              </a:extLst>
            </p:cNvPr>
            <p:cNvSpPr txBox="1"/>
            <p:nvPr/>
          </p:nvSpPr>
          <p:spPr>
            <a:xfrm>
              <a:off x="5602754" y="1867927"/>
              <a:ext cx="720246" cy="8028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pl-PL" sz="1000" kern="1200" dirty="0"/>
            </a:p>
          </p:txBody>
        </p:sp>
      </p:grp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B5B55F3B-E0A4-49ED-2A84-23D0B8354F3B}"/>
              </a:ext>
            </a:extLst>
          </p:cNvPr>
          <p:cNvSpPr txBox="1"/>
          <p:nvPr/>
        </p:nvSpPr>
        <p:spPr>
          <a:xfrm>
            <a:off x="5347001" y="2915703"/>
            <a:ext cx="103579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/>
              <a:t>VHR 422</a:t>
            </a:r>
          </a:p>
        </p:txBody>
      </p: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D2C86265-9E99-EE12-4F4E-3FC02959E2F7}"/>
              </a:ext>
            </a:extLst>
          </p:cNvPr>
          <p:cNvSpPr txBox="1"/>
          <p:nvPr/>
        </p:nvSpPr>
        <p:spPr>
          <a:xfrm>
            <a:off x="6459838" y="2896951"/>
            <a:ext cx="103579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/>
              <a:t>HR 3100</a:t>
            </a:r>
          </a:p>
        </p:txBody>
      </p:sp>
      <p:sp>
        <p:nvSpPr>
          <p:cNvPr id="19" name="pole tekstowe 18">
            <a:extLst>
              <a:ext uri="{FF2B5EF4-FFF2-40B4-BE49-F238E27FC236}">
                <a16:creationId xmlns:a16="http://schemas.microsoft.com/office/drawing/2014/main" id="{28174E34-26B1-6E99-A421-CAF6E1800B47}"/>
              </a:ext>
            </a:extLst>
          </p:cNvPr>
          <p:cNvSpPr txBox="1"/>
          <p:nvPr/>
        </p:nvSpPr>
        <p:spPr>
          <a:xfrm>
            <a:off x="7602195" y="2923763"/>
            <a:ext cx="103579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/>
              <a:t>NORMAL</a:t>
            </a:r>
          </a:p>
          <a:p>
            <a:pPr algn="ctr"/>
            <a:r>
              <a:rPr lang="pl-PL" dirty="0"/>
              <a:t>1252</a:t>
            </a:r>
          </a:p>
        </p:txBody>
      </p:sp>
    </p:spTree>
    <p:extLst>
      <p:ext uri="{BB962C8B-B14F-4D97-AF65-F5344CB8AC3E}">
        <p14:creationId xmlns:p14="http://schemas.microsoft.com/office/powerpoint/2010/main" val="9891440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4E62452E-B6C9-31F4-D143-74CD346C17D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685800">
              <a:defRPr/>
            </a:pPr>
            <a:fld id="{332DF002-2E43-485C-89F8-8DCEF59D6C4F}" type="slidenum">
              <a:rPr lang="pl-PL">
                <a:latin typeface="Arial"/>
              </a:rPr>
              <a:pPr defTabSz="685800">
                <a:defRPr/>
              </a:pPr>
              <a:t>5</a:t>
            </a:fld>
            <a:endParaRPr lang="pl-PL" dirty="0">
              <a:latin typeface="Arial"/>
            </a:endParaRPr>
          </a:p>
        </p:txBody>
      </p:sp>
      <p:graphicFrame>
        <p:nvGraphicFramePr>
          <p:cNvPr id="5" name="Wykres 4">
            <a:extLst>
              <a:ext uri="{FF2B5EF4-FFF2-40B4-BE49-F238E27FC236}">
                <a16:creationId xmlns:a16="http://schemas.microsoft.com/office/drawing/2014/main" id="{9D5468C8-B699-AFF8-FEB7-694B7722BB2D}"/>
              </a:ext>
            </a:extLst>
          </p:cNvPr>
          <p:cNvGraphicFramePr>
            <a:graphicFrameLocks/>
          </p:cNvGraphicFramePr>
          <p:nvPr/>
        </p:nvGraphicFramePr>
        <p:xfrm>
          <a:off x="-471488" y="828675"/>
          <a:ext cx="9578984" cy="4219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ytuł 1">
            <a:extLst>
              <a:ext uri="{FF2B5EF4-FFF2-40B4-BE49-F238E27FC236}">
                <a16:creationId xmlns:a16="http://schemas.microsoft.com/office/drawing/2014/main" id="{B23E2F52-2173-6C4C-830C-B314ED0AC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264" y="95250"/>
            <a:ext cx="8356470" cy="565150"/>
          </a:xfrm>
        </p:spPr>
        <p:txBody>
          <a:bodyPr/>
          <a:lstStyle/>
          <a:p>
            <a:r>
              <a:rPr lang="pl-P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mber of KYC/AML tasks</a:t>
            </a:r>
            <a:r>
              <a:rPr lang="pl-P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er Advisor 01-02/2026 </a:t>
            </a:r>
            <a:br>
              <a:rPr lang="pl-P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35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5% of the advisor's nominal working time (excluding holidays and L4 </a:t>
            </a:r>
            <a:r>
              <a:rPr lang="pl-PL" sz="135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35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ck leave</a:t>
            </a:r>
            <a:r>
              <a:rPr lang="pl-PL" sz="135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US" sz="135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is devoted to KYC/AML tasks</a:t>
            </a:r>
            <a:endParaRPr lang="pl-PL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C1BF3AEF-3044-77DA-B46B-155CEFE7FA01}"/>
              </a:ext>
            </a:extLst>
          </p:cNvPr>
          <p:cNvSpPr txBox="1"/>
          <p:nvPr/>
        </p:nvSpPr>
        <p:spPr>
          <a:xfrm>
            <a:off x="328999" y="2947087"/>
            <a:ext cx="62353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l-PL" dirty="0">
                <a:solidFill>
                  <a:srgbClr val="ED1B2F"/>
                </a:solidFill>
                <a:latin typeface="Arial"/>
              </a:rPr>
              <a:t>4,15</a:t>
            </a:r>
          </a:p>
        </p:txBody>
      </p:sp>
      <p:sp>
        <p:nvSpPr>
          <p:cNvPr id="2" name="pole tekstowe 1">
            <a:extLst>
              <a:ext uri="{FF2B5EF4-FFF2-40B4-BE49-F238E27FC236}">
                <a16:creationId xmlns:a16="http://schemas.microsoft.com/office/drawing/2014/main" id="{C330E706-CEA0-5CAB-61D6-4E443BA3E9D9}"/>
              </a:ext>
            </a:extLst>
          </p:cNvPr>
          <p:cNvSpPr txBox="1"/>
          <p:nvPr/>
        </p:nvSpPr>
        <p:spPr>
          <a:xfrm>
            <a:off x="1331964" y="780512"/>
            <a:ext cx="3240036" cy="83099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nned revision 2026</a:t>
            </a: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ditional actions for clients connected to Russia</a:t>
            </a: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lling in missing data in the KYC revision</a:t>
            </a: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lanations for transaction alerts</a:t>
            </a:r>
            <a:endParaRPr lang="pl-PL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28417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25F3C0-F409-47A2-A0F8-791D523EA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50" y="169076"/>
            <a:ext cx="8118475" cy="468050"/>
          </a:xfrm>
        </p:spPr>
        <p:txBody>
          <a:bodyPr/>
          <a:lstStyle/>
          <a:p>
            <a:r>
              <a:rPr lang="pl-PL" dirty="0" err="1"/>
              <a:t>Excessive</a:t>
            </a:r>
            <a:r>
              <a:rPr lang="pl-PL" dirty="0"/>
              <a:t> </a:t>
            </a:r>
            <a:r>
              <a:rPr lang="pl-PL" dirty="0" err="1"/>
              <a:t>transaction</a:t>
            </a:r>
            <a:r>
              <a:rPr lang="pl-PL" dirty="0"/>
              <a:t> </a:t>
            </a:r>
            <a:r>
              <a:rPr lang="pl-PL" dirty="0" err="1"/>
              <a:t>alerts</a:t>
            </a:r>
            <a:endParaRPr lang="pl-PL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5233018-2C6C-4C42-B095-7B79526174A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2150" y="1007149"/>
            <a:ext cx="8319701" cy="3733250"/>
          </a:xfrm>
        </p:spPr>
        <p:txBody>
          <a:bodyPr/>
          <a:lstStyle/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ML Team (CA Group's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goritm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identifies transactions that require:</a:t>
            </a: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ustomer contact &gt; clarification and formal documentation of the transaction (invoice, contract) &gt; update of KYC data.</a:t>
            </a: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ck of quick explanations and delivery of documents (up to 72h) results in blocking the client's account.</a:t>
            </a: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result: deactivation of accounts and customer departures.</a:t>
            </a: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nce the end of last year, we observe an increase in transaction alerts on SME clients that are unnecessary (false hits).</a:t>
            </a: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alse hits regarding deposits and withdrawals transactions, which the client cannot perform in the branch because the branch is cashless. The customer divides the transaction into several / a dozen smaller ones and makes them in self-service devices. Splitting transactions is the result of limitations on self-service devices.</a:t>
            </a:r>
          </a:p>
          <a:p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ch alerts generate unnecessary work in many units:</a:t>
            </a:r>
          </a:p>
          <a:p>
            <a:pPr lvl="1"/>
            <a:r>
              <a:rPr lang="en-US" sz="1200" dirty="0">
                <a:solidFill>
                  <a:srgbClr val="7E93A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ML Team analyzes redundant alerts.</a:t>
            </a:r>
          </a:p>
          <a:p>
            <a:pPr lvl="1"/>
            <a:r>
              <a:rPr lang="en-US" sz="1200" dirty="0">
                <a:solidFill>
                  <a:srgbClr val="7E93A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KB/DKA/CC contacts the customer urgently and explains transactions that are generally obvious (at the expense of other sales activities).</a:t>
            </a:r>
          </a:p>
          <a:p>
            <a:pPr lvl="1"/>
            <a:r>
              <a:rPr lang="en-US" sz="1200" dirty="0">
                <a:solidFill>
                  <a:srgbClr val="7E93A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customer must explain/document the purpose/source of these withdrawals/deposits.</a:t>
            </a:r>
            <a:endParaRPr lang="pl-PL" sz="1200" dirty="0">
              <a:solidFill>
                <a:srgbClr val="7E93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6187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D3144C-4C51-101B-C751-C84980318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D920F21-B291-DC25-F985-3E850758A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51" y="47088"/>
            <a:ext cx="8118475" cy="565150"/>
          </a:xfrm>
        </p:spPr>
        <p:txBody>
          <a:bodyPr anchor="ctr"/>
          <a:lstStyle/>
          <a:p>
            <a:r>
              <a:rPr lang="pl-PL" sz="2000" dirty="0"/>
              <a:t>New KYC </a:t>
            </a:r>
            <a:r>
              <a:rPr lang="pl-PL" sz="2000" dirty="0" err="1"/>
              <a:t>solution</a:t>
            </a:r>
            <a:r>
              <a:rPr lang="pl-PL" sz="2000" dirty="0"/>
              <a:t>- </a:t>
            </a:r>
            <a:r>
              <a:rPr lang="pl-PL" sz="2000" dirty="0" err="1"/>
              <a:t>Main</a:t>
            </a:r>
            <a:r>
              <a:rPr lang="pl-PL" sz="2000" dirty="0"/>
              <a:t> </a:t>
            </a:r>
            <a:r>
              <a:rPr lang="pl-PL" sz="2000" dirty="0" err="1"/>
              <a:t>scope</a:t>
            </a:r>
            <a:endParaRPr lang="en-US" sz="2000" dirty="0"/>
          </a:p>
        </p:txBody>
      </p:sp>
      <p:grpSp>
        <p:nvGrpSpPr>
          <p:cNvPr id="10" name="Group 24">
            <a:extLst>
              <a:ext uri="{FF2B5EF4-FFF2-40B4-BE49-F238E27FC236}">
                <a16:creationId xmlns:a16="http://schemas.microsoft.com/office/drawing/2014/main" id="{2436A7D3-0CC3-BD98-0B99-9932BCBD808D}"/>
              </a:ext>
            </a:extLst>
          </p:cNvPr>
          <p:cNvGrpSpPr/>
          <p:nvPr/>
        </p:nvGrpSpPr>
        <p:grpSpPr>
          <a:xfrm>
            <a:off x="461681" y="751653"/>
            <a:ext cx="8118475" cy="4070122"/>
            <a:chOff x="3757378" y="1406079"/>
            <a:chExt cx="4409293" cy="3055194"/>
          </a:xfrm>
        </p:grpSpPr>
        <p:sp>
          <p:nvSpPr>
            <p:cNvPr id="11" name="Rounded Rectangle 23">
              <a:extLst>
                <a:ext uri="{FF2B5EF4-FFF2-40B4-BE49-F238E27FC236}">
                  <a16:creationId xmlns:a16="http://schemas.microsoft.com/office/drawing/2014/main" id="{62C181F4-36CD-FADA-DFA8-6447FD4F7103}"/>
                </a:ext>
              </a:extLst>
            </p:cNvPr>
            <p:cNvSpPr/>
            <p:nvPr/>
          </p:nvSpPr>
          <p:spPr>
            <a:xfrm>
              <a:off x="3757378" y="1406079"/>
              <a:ext cx="4409293" cy="305519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>
                <a:spcAft>
                  <a:spcPts val="600"/>
                </a:spcAft>
              </a:pPr>
              <a:r>
                <a:rPr lang="pl-PL" sz="1000" b="1" dirty="0"/>
                <a:t>P</a:t>
              </a:r>
              <a:r>
                <a:rPr lang="en-US" sz="1000" b="1" dirty="0"/>
                <a:t>art of the project scope on the supplier side</a:t>
              </a:r>
              <a:r>
                <a:rPr lang="pl-PL" sz="1000" dirty="0"/>
                <a:t>:</a:t>
              </a:r>
              <a:r>
                <a:rPr lang="en-GB" sz="1000" dirty="0"/>
                <a:t> </a:t>
              </a:r>
              <a:endParaRPr lang="pl-PL" sz="1000" dirty="0"/>
            </a:p>
            <a:p>
              <a:pPr>
                <a:spcAft>
                  <a:spcPts val="600"/>
                </a:spcAft>
              </a:pPr>
              <a:r>
                <a:rPr lang="en-GB" sz="1000" dirty="0"/>
                <a:t>„brain” </a:t>
              </a:r>
              <a:r>
                <a:rPr lang="en-US" sz="1000" dirty="0"/>
                <a:t>KYC Review – </a:t>
              </a:r>
              <a:r>
                <a:rPr lang="pl-PL" sz="1000" dirty="0" err="1"/>
                <a:t>main</a:t>
              </a:r>
              <a:r>
                <a:rPr lang="pl-PL" sz="1000" dirty="0"/>
                <a:t> component for </a:t>
              </a:r>
              <a:r>
                <a:rPr lang="en-GB" sz="1000" dirty="0"/>
                <a:t>KYC process management </a:t>
              </a:r>
              <a:r>
                <a:rPr lang="pl-PL" sz="1000" dirty="0"/>
                <a:t>and </a:t>
              </a:r>
              <a:r>
                <a:rPr lang="en-US" sz="1000" dirty="0"/>
                <a:t>Clients self service: data and documents update</a:t>
              </a:r>
              <a:r>
                <a:rPr lang="pl-PL" sz="1000" dirty="0"/>
                <a:t>; c</a:t>
              </a:r>
              <a:r>
                <a:rPr lang="en-US" sz="1000" dirty="0" err="1"/>
                <a:t>ommunication</a:t>
              </a:r>
              <a:r>
                <a:rPr lang="en-US" sz="1000" dirty="0"/>
                <a:t> with clients + pop up </a:t>
              </a:r>
              <a:r>
                <a:rPr lang="en-US" sz="1000" dirty="0" err="1"/>
                <a:t>informations</a:t>
              </a:r>
              <a:r>
                <a:rPr lang="en-US" sz="1000" dirty="0"/>
                <a:t> on front ends / mobile</a:t>
              </a:r>
              <a:r>
                <a:rPr lang="pl-PL" sz="1000" dirty="0"/>
                <a:t>; i</a:t>
              </a:r>
              <a:r>
                <a:rPr lang="en-US" sz="1000" dirty="0" err="1"/>
                <a:t>ntegration</a:t>
              </a:r>
              <a:r>
                <a:rPr lang="en-US" sz="1000" dirty="0"/>
                <a:t> with external and internal services for KYC &amp; AML purposes - at onboarding and during relations</a:t>
              </a:r>
              <a:r>
                <a:rPr lang="pl-PL" sz="1000" dirty="0"/>
                <a:t>; </a:t>
              </a:r>
              <a:r>
                <a:rPr lang="pl-PL" sz="1000" dirty="0" err="1"/>
                <a:t>enabler</a:t>
              </a:r>
              <a:r>
                <a:rPr lang="pl-PL" sz="1000" dirty="0"/>
                <a:t> of b</a:t>
              </a:r>
              <a:r>
                <a:rPr lang="en-US" sz="1000" dirty="0" err="1"/>
                <a:t>lockades</a:t>
              </a:r>
              <a:r>
                <a:rPr lang="en-US" sz="1000" dirty="0"/>
                <a:t> and termination of relations (KYC process and other AML)</a:t>
              </a:r>
              <a:r>
                <a:rPr lang="pl-PL" sz="1000" dirty="0"/>
                <a:t>; r</a:t>
              </a:r>
              <a:r>
                <a:rPr lang="en-US" sz="1000" dirty="0" err="1"/>
                <a:t>isk</a:t>
              </a:r>
              <a:r>
                <a:rPr lang="en-US" sz="1000" dirty="0"/>
                <a:t> scoring</a:t>
              </a:r>
              <a:r>
                <a:rPr lang="pl-PL" sz="1000" dirty="0"/>
                <a:t>; o</a:t>
              </a:r>
              <a:r>
                <a:rPr lang="en-US" sz="1000" dirty="0" err="1"/>
                <a:t>nboarding</a:t>
              </a:r>
              <a:r>
                <a:rPr lang="pl-PL" sz="1000" dirty="0"/>
                <a:t>; r</a:t>
              </a:r>
              <a:r>
                <a:rPr lang="en-US" sz="1000" dirty="0" err="1"/>
                <a:t>evision</a:t>
              </a:r>
              <a:r>
                <a:rPr lang="en-US" sz="1000" dirty="0"/>
                <a:t> </a:t>
              </a:r>
              <a:r>
                <a:rPr lang="en-US" sz="1000" dirty="0" err="1"/>
                <a:t>proce</a:t>
              </a:r>
              <a:r>
                <a:rPr lang="pl-PL" sz="1000" dirty="0"/>
                <a:t>s</a:t>
              </a:r>
              <a:r>
                <a:rPr lang="en-US" sz="1000" dirty="0"/>
                <a:t>s</a:t>
              </a:r>
              <a:r>
                <a:rPr lang="pl-PL" sz="1000" dirty="0"/>
                <a:t>; EDD; d</a:t>
              </a:r>
              <a:r>
                <a:rPr lang="en-US" sz="1000" dirty="0" err="1"/>
                <a:t>etermining</a:t>
              </a:r>
              <a:r>
                <a:rPr lang="en-US" sz="1000" dirty="0"/>
                <a:t> PEP/RCA status and presence on sanctions lists &amp; HR countries clients</a:t>
              </a:r>
              <a:r>
                <a:rPr lang="pl-PL" sz="1000" dirty="0"/>
                <a:t>; </a:t>
              </a:r>
              <a:r>
                <a:rPr lang="en-US" sz="1000" dirty="0"/>
                <a:t>KYC data</a:t>
              </a:r>
              <a:r>
                <a:rPr lang="pl-PL" sz="1000" dirty="0"/>
                <a:t> </a:t>
              </a:r>
              <a:r>
                <a:rPr lang="pl-PL" sz="1000" dirty="0" err="1"/>
                <a:t>keeper</a:t>
              </a:r>
              <a:r>
                <a:rPr lang="pl-PL" sz="1000" dirty="0"/>
                <a:t>; </a:t>
              </a:r>
              <a:r>
                <a:rPr lang="en-US" sz="1000" dirty="0"/>
                <a:t>KYC process - approval to establish or continue a relationship</a:t>
              </a:r>
              <a:r>
                <a:rPr lang="pl-PL" sz="1000" dirty="0"/>
                <a:t>; </a:t>
              </a:r>
              <a:r>
                <a:rPr lang="en-US" sz="1000" dirty="0"/>
                <a:t>KYC Review - Monitoring and reporting revision </a:t>
              </a:r>
              <a:r>
                <a:rPr lang="en-US" sz="1000" dirty="0" err="1"/>
                <a:t>proce</a:t>
              </a:r>
              <a:r>
                <a:rPr lang="pl-PL" sz="1000" dirty="0"/>
                <a:t>s</a:t>
              </a:r>
              <a:r>
                <a:rPr lang="en-US" sz="1000" dirty="0"/>
                <a:t>s</a:t>
              </a:r>
              <a:r>
                <a:rPr lang="pl-PL" sz="1000" dirty="0"/>
                <a:t>.</a:t>
              </a:r>
            </a:p>
            <a:p>
              <a:pPr>
                <a:spcAft>
                  <a:spcPts val="600"/>
                </a:spcAft>
              </a:pPr>
              <a:endParaRPr lang="pl-PL" sz="1000" dirty="0"/>
            </a:p>
            <a:p>
              <a:pPr>
                <a:spcAft>
                  <a:spcPts val="600"/>
                </a:spcAft>
              </a:pPr>
              <a:r>
                <a:rPr lang="en-US" sz="1000" b="1" dirty="0"/>
                <a:t>Part of the project scope on the </a:t>
              </a:r>
              <a:r>
                <a:rPr lang="pl-PL" sz="1000" b="1" dirty="0"/>
                <a:t>CABP</a:t>
              </a:r>
              <a:r>
                <a:rPr lang="en-US" sz="1000" b="1" dirty="0"/>
                <a:t> side</a:t>
              </a:r>
              <a:r>
                <a:rPr lang="pl-PL" sz="1000" dirty="0"/>
                <a:t>:</a:t>
              </a:r>
            </a:p>
            <a:p>
              <a:pPr>
                <a:spcAft>
                  <a:spcPts val="600"/>
                </a:spcAft>
              </a:pPr>
              <a:r>
                <a:rPr lang="en-US" sz="1000" dirty="0"/>
                <a:t>Integration of the supplier's and group's solutions with the bank's systems</a:t>
              </a:r>
              <a:r>
                <a:rPr lang="pl-PL" sz="1000" dirty="0"/>
                <a:t>;</a:t>
              </a:r>
              <a:r>
                <a:rPr lang="en-US" sz="1000" dirty="0"/>
                <a:t> preparation of IT services for performing operations</a:t>
              </a:r>
              <a:r>
                <a:rPr lang="pl-PL" sz="1000" dirty="0"/>
                <a:t> in </a:t>
              </a:r>
              <a:r>
                <a:rPr lang="pl-PL" sz="1000" dirty="0" err="1"/>
                <a:t>core</a:t>
              </a:r>
              <a:r>
                <a:rPr lang="pl-PL" sz="1000" dirty="0"/>
                <a:t> and front-end </a:t>
              </a:r>
              <a:r>
                <a:rPr lang="pl-PL" sz="1000" dirty="0" err="1"/>
                <a:t>systems</a:t>
              </a:r>
              <a:r>
                <a:rPr lang="pl-PL" sz="1000" dirty="0"/>
                <a:t>;</a:t>
              </a:r>
              <a:r>
                <a:rPr lang="en-US" sz="1000" dirty="0"/>
                <a:t> feeding applications with data</a:t>
              </a:r>
              <a:r>
                <a:rPr lang="pl-PL" sz="1000" dirty="0"/>
                <a:t>;</a:t>
              </a:r>
              <a:r>
                <a:rPr lang="en-US" sz="1000" dirty="0"/>
                <a:t> changes in the bank's front-end systems used for collecting data and performing operations </a:t>
              </a:r>
              <a:r>
                <a:rPr lang="pl-PL" sz="1000" dirty="0"/>
                <a:t>(</a:t>
              </a:r>
              <a:r>
                <a:rPr lang="pl-PL" sz="1000" dirty="0" err="1"/>
                <a:t>including</a:t>
              </a:r>
              <a:r>
                <a:rPr lang="pl-PL" sz="1000" dirty="0"/>
                <a:t> </a:t>
              </a:r>
              <a:r>
                <a:rPr lang="en-US" sz="1000" dirty="0"/>
                <a:t>self-service systems for customers</a:t>
              </a:r>
              <a:r>
                <a:rPr lang="pl-PL" sz="1000" dirty="0"/>
                <a:t> and</a:t>
              </a:r>
              <a:r>
                <a:rPr lang="en-US" sz="1000" dirty="0"/>
                <a:t> front-end systems for bank employees</a:t>
              </a:r>
              <a:r>
                <a:rPr lang="pl-PL" sz="1000" dirty="0"/>
                <a:t>);</a:t>
              </a:r>
              <a:r>
                <a:rPr lang="en-US" sz="1000" dirty="0"/>
                <a:t> changes in the data mart, </a:t>
              </a:r>
              <a:r>
                <a:rPr lang="pl-PL" sz="1000" dirty="0" err="1"/>
                <a:t>changes</a:t>
              </a:r>
              <a:r>
                <a:rPr lang="pl-PL" sz="1000" dirty="0"/>
                <a:t> in CIS (master data) </a:t>
              </a:r>
              <a:r>
                <a:rPr lang="en-US" sz="1000" dirty="0"/>
                <a:t>and others.</a:t>
              </a:r>
              <a:endParaRPr lang="pl-PL" sz="1000" dirty="0"/>
            </a:p>
            <a:p>
              <a:pPr>
                <a:spcAft>
                  <a:spcPts val="600"/>
                </a:spcAft>
              </a:pPr>
              <a:endParaRPr lang="pl-PL" sz="1000" dirty="0"/>
            </a:p>
            <a:p>
              <a:pPr>
                <a:spcAft>
                  <a:spcPts val="600"/>
                </a:spcAft>
              </a:pPr>
              <a:r>
                <a:rPr lang="en-US" sz="1000" b="1" dirty="0"/>
                <a:t>Part of the project scope on the</a:t>
              </a:r>
              <a:r>
                <a:rPr lang="pl-PL" sz="1000" b="1" dirty="0"/>
                <a:t> Group </a:t>
              </a:r>
              <a:r>
                <a:rPr lang="pl-PL" sz="1000" b="1" dirty="0" err="1"/>
                <a:t>side</a:t>
              </a:r>
              <a:r>
                <a:rPr lang="pl-PL" sz="1000" dirty="0"/>
                <a:t>:</a:t>
              </a:r>
            </a:p>
            <a:p>
              <a:pPr>
                <a:spcAft>
                  <a:spcPts val="600"/>
                </a:spcAft>
              </a:pPr>
              <a:r>
                <a:rPr lang="pl-PL" sz="1000" dirty="0"/>
                <a:t>12-month </a:t>
              </a:r>
              <a:r>
                <a:rPr lang="pl-PL" sz="1000" dirty="0" err="1"/>
                <a:t>transaction</a:t>
              </a:r>
              <a:r>
                <a:rPr lang="pl-PL" sz="1000" dirty="0"/>
                <a:t> </a:t>
              </a:r>
              <a:r>
                <a:rPr lang="pl-PL" sz="1000" dirty="0" err="1"/>
                <a:t>analysis</a:t>
              </a:r>
              <a:r>
                <a:rPr lang="pl-PL" sz="1000" dirty="0"/>
                <a:t> </a:t>
              </a:r>
              <a:r>
                <a:rPr lang="pl-PL" sz="1000" dirty="0" err="1"/>
                <a:t>result</a:t>
              </a:r>
              <a:r>
                <a:rPr lang="pl-PL" sz="1000" dirty="0"/>
                <a:t> for the H/VHR Client during KYC </a:t>
              </a:r>
              <a:r>
                <a:rPr lang="pl-PL" sz="1000" dirty="0" err="1"/>
                <a:t>Review</a:t>
              </a:r>
              <a:r>
                <a:rPr lang="pl-PL" sz="1000" dirty="0"/>
                <a:t>; KYC </a:t>
              </a:r>
              <a:r>
                <a:rPr lang="pl-PL" sz="1000" dirty="0" err="1"/>
                <a:t>transactions</a:t>
              </a:r>
              <a:r>
                <a:rPr lang="pl-PL" sz="1000" dirty="0"/>
                <a:t> </a:t>
              </a:r>
              <a:r>
                <a:rPr lang="pl-PL" sz="1000" dirty="0" err="1"/>
                <a:t>consistency</a:t>
              </a:r>
              <a:r>
                <a:rPr lang="pl-PL" sz="1000" dirty="0"/>
                <a:t>; </a:t>
              </a:r>
              <a:r>
                <a:rPr lang="pl-PL" sz="1000" dirty="0" err="1"/>
                <a:t>Automate</a:t>
              </a:r>
              <a:r>
                <a:rPr lang="pl-PL" sz="1000" dirty="0"/>
                <a:t> online screening with PEP/RCA and </a:t>
              </a:r>
              <a:r>
                <a:rPr lang="pl-PL" sz="1000" dirty="0" err="1"/>
                <a:t>sanctions</a:t>
              </a:r>
              <a:r>
                <a:rPr lang="pl-PL" sz="1000" dirty="0"/>
                <a:t> </a:t>
              </a:r>
              <a:r>
                <a:rPr lang="pl-PL" sz="1000" dirty="0" err="1"/>
                <a:t>lists</a:t>
              </a:r>
              <a:r>
                <a:rPr lang="pl-PL" sz="1000" dirty="0"/>
                <a:t>; PEP </a:t>
              </a:r>
              <a:r>
                <a:rPr lang="pl-PL" sz="1000" dirty="0" err="1"/>
                <a:t>lists</a:t>
              </a:r>
              <a:r>
                <a:rPr lang="pl-PL" sz="1000" dirty="0"/>
                <a:t> </a:t>
              </a:r>
              <a:r>
                <a:rPr lang="pl-PL" sz="1000" dirty="0" err="1"/>
                <a:t>imporvement</a:t>
              </a:r>
              <a:r>
                <a:rPr lang="pl-PL" sz="1000" dirty="0"/>
                <a:t>; </a:t>
              </a:r>
              <a:r>
                <a:rPr lang="pl-PL" sz="1000" dirty="0" err="1"/>
                <a:t>Improve</a:t>
              </a:r>
              <a:r>
                <a:rPr lang="pl-PL" sz="1000" dirty="0"/>
                <a:t> PEP </a:t>
              </a:r>
              <a:r>
                <a:rPr lang="pl-PL" sz="1000" dirty="0" err="1"/>
                <a:t>alerts</a:t>
              </a:r>
              <a:r>
                <a:rPr lang="pl-PL" sz="1000" dirty="0"/>
                <a:t> </a:t>
              </a:r>
              <a:r>
                <a:rPr lang="pl-PL" sz="1000" dirty="0" err="1"/>
                <a:t>efficiency</a:t>
              </a:r>
              <a:r>
                <a:rPr lang="pl-PL" sz="1000" dirty="0"/>
                <a:t>; Online risk </a:t>
              </a:r>
              <a:r>
                <a:rPr lang="pl-PL" sz="1000" dirty="0" err="1"/>
                <a:t>scoring</a:t>
              </a:r>
              <a:r>
                <a:rPr lang="pl-PL" sz="1000" dirty="0"/>
                <a:t> </a:t>
              </a:r>
              <a:r>
                <a:rPr lang="pl-PL" sz="1000" dirty="0" err="1"/>
                <a:t>at</a:t>
              </a:r>
              <a:r>
                <a:rPr lang="pl-PL" sz="1000" dirty="0"/>
                <a:t> </a:t>
              </a:r>
              <a:r>
                <a:rPr lang="pl-PL" sz="1000" dirty="0" err="1"/>
                <a:t>onboarding</a:t>
              </a:r>
              <a:r>
                <a:rPr lang="pl-PL" sz="1000" dirty="0"/>
                <a:t>; Risk </a:t>
              </a:r>
              <a:r>
                <a:rPr lang="pl-PL" sz="1000" dirty="0" err="1"/>
                <a:t>scoring</a:t>
              </a:r>
              <a:r>
                <a:rPr lang="pl-PL" sz="1000" dirty="0"/>
                <a:t> </a:t>
              </a:r>
              <a:r>
                <a:rPr lang="pl-PL" sz="1000" dirty="0" err="1"/>
                <a:t>unification</a:t>
              </a:r>
              <a:r>
                <a:rPr lang="pl-PL" sz="1000" dirty="0"/>
                <a:t> - during relations; </a:t>
              </a:r>
              <a:r>
                <a:rPr lang="pl-PL" sz="1000" dirty="0" err="1"/>
                <a:t>Verifications</a:t>
              </a:r>
              <a:r>
                <a:rPr lang="pl-PL" sz="1000" dirty="0"/>
                <a:t> with </a:t>
              </a:r>
              <a:r>
                <a:rPr lang="pl-PL" sz="1000" dirty="0" err="1"/>
                <a:t>negative</a:t>
              </a:r>
              <a:r>
                <a:rPr lang="pl-PL" sz="1000" dirty="0"/>
                <a:t> news; Real </a:t>
              </a:r>
              <a:r>
                <a:rPr lang="pl-PL" sz="1000" dirty="0" err="1"/>
                <a:t>time</a:t>
              </a:r>
              <a:r>
                <a:rPr lang="pl-PL" sz="1000" dirty="0"/>
                <a:t> </a:t>
              </a:r>
              <a:r>
                <a:rPr lang="pl-PL" sz="1000" dirty="0" err="1"/>
                <a:t>transactions</a:t>
              </a:r>
              <a:r>
                <a:rPr lang="pl-PL" sz="1000" dirty="0"/>
                <a:t> monitoring to </a:t>
              </a:r>
              <a:r>
                <a:rPr lang="pl-PL" sz="1000" dirty="0" err="1"/>
                <a:t>detect</a:t>
              </a:r>
              <a:r>
                <a:rPr lang="pl-PL" sz="1000" dirty="0"/>
                <a:t> STR / SAR (before </a:t>
              </a:r>
              <a:r>
                <a:rPr lang="pl-PL" sz="1000" dirty="0" err="1"/>
                <a:t>transaction</a:t>
              </a:r>
              <a:r>
                <a:rPr lang="pl-PL" sz="1000" dirty="0"/>
                <a:t> </a:t>
              </a:r>
              <a:r>
                <a:rPr lang="pl-PL" sz="1000" dirty="0" err="1"/>
                <a:t>realisation</a:t>
              </a:r>
              <a:r>
                <a:rPr lang="pl-PL" sz="1000" dirty="0"/>
                <a:t>); DDF </a:t>
              </a:r>
              <a:r>
                <a:rPr lang="pl-PL" sz="1000" dirty="0" err="1"/>
                <a:t>scenarios</a:t>
              </a:r>
              <a:r>
                <a:rPr lang="pl-PL" sz="1000" dirty="0"/>
                <a:t> </a:t>
              </a:r>
              <a:r>
                <a:rPr lang="pl-PL" sz="1000" dirty="0" err="1"/>
                <a:t>efficiency</a:t>
              </a:r>
              <a:r>
                <a:rPr lang="pl-PL" sz="1000" dirty="0"/>
                <a:t> </a:t>
              </a:r>
              <a:r>
                <a:rPr lang="pl-PL" sz="1000" dirty="0" err="1"/>
                <a:t>improvement</a:t>
              </a:r>
              <a:r>
                <a:rPr lang="pl-PL" sz="1000" dirty="0"/>
                <a:t> and </a:t>
              </a:r>
              <a:r>
                <a:rPr lang="pl-PL" sz="1000" dirty="0" err="1"/>
                <a:t>adjustement</a:t>
              </a:r>
              <a:r>
                <a:rPr lang="pl-PL" sz="1000" dirty="0"/>
                <a:t> to </a:t>
              </a:r>
              <a:r>
                <a:rPr lang="pl-PL" sz="1000" dirty="0" err="1"/>
                <a:t>local</a:t>
              </a:r>
              <a:r>
                <a:rPr lang="pl-PL" sz="1000" dirty="0"/>
                <a:t> </a:t>
              </a:r>
              <a:r>
                <a:rPr lang="pl-PL" sz="1000" dirty="0" err="1"/>
                <a:t>specificity</a:t>
              </a:r>
              <a:r>
                <a:rPr lang="pl-PL" sz="1000" dirty="0"/>
                <a:t>. </a:t>
              </a:r>
              <a:endParaRPr lang="en-GB" sz="1000" dirty="0"/>
            </a:p>
            <a:p>
              <a:pPr algn="ctr" defTabSz="685443">
                <a:defRPr/>
              </a:pPr>
              <a:endParaRPr lang="en-US" sz="600" kern="0" dirty="0">
                <a:latin typeface="+mj-lt"/>
              </a:endParaRPr>
            </a:p>
          </p:txBody>
        </p:sp>
        <p:sp>
          <p:nvSpPr>
            <p:cNvPr id="12" name="Rechteck 53">
              <a:extLst>
                <a:ext uri="{FF2B5EF4-FFF2-40B4-BE49-F238E27FC236}">
                  <a16:creationId xmlns:a16="http://schemas.microsoft.com/office/drawing/2014/main" id="{9C0ED413-8313-91AB-588F-568E4BC95FE3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13" name="Text Box 49">
            <a:extLst>
              <a:ext uri="{FF2B5EF4-FFF2-40B4-BE49-F238E27FC236}">
                <a16:creationId xmlns:a16="http://schemas.microsoft.com/office/drawing/2014/main" id="{B8F252C0-08BC-3E20-B047-228A8CCCDBC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25037" y="731579"/>
            <a:ext cx="1743805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96CA12"/>
                </a:solidFill>
                <a:latin typeface="Calibri"/>
              </a:rPr>
              <a:t>MAIN SCOPE</a:t>
            </a:r>
            <a:endParaRPr lang="en-GB" sz="800" b="1" kern="0" dirty="0">
              <a:solidFill>
                <a:srgbClr val="96CA12"/>
              </a:solidFill>
              <a:latin typeface="Calibri"/>
            </a:endParaRPr>
          </a:p>
        </p:txBody>
      </p:sp>
      <p:sp>
        <p:nvSpPr>
          <p:cNvPr id="16" name="Schemat blokowy: łącznik 15">
            <a:extLst>
              <a:ext uri="{FF2B5EF4-FFF2-40B4-BE49-F238E27FC236}">
                <a16:creationId xmlns:a16="http://schemas.microsoft.com/office/drawing/2014/main" id="{980D0E2A-E7AD-8740-9DA0-F794D8C0DB3B}"/>
              </a:ext>
            </a:extLst>
          </p:cNvPr>
          <p:cNvSpPr/>
          <p:nvPr/>
        </p:nvSpPr>
        <p:spPr>
          <a:xfrm>
            <a:off x="371680" y="1070768"/>
            <a:ext cx="180002" cy="155368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700" dirty="0"/>
              <a:t>1</a:t>
            </a:r>
          </a:p>
        </p:txBody>
      </p:sp>
      <p:sp>
        <p:nvSpPr>
          <p:cNvPr id="17" name="Schemat blokowy: łącznik 16">
            <a:extLst>
              <a:ext uri="{FF2B5EF4-FFF2-40B4-BE49-F238E27FC236}">
                <a16:creationId xmlns:a16="http://schemas.microsoft.com/office/drawing/2014/main" id="{731D6AA1-8773-A5D1-3DB3-E31265CB6D79}"/>
              </a:ext>
            </a:extLst>
          </p:cNvPr>
          <p:cNvSpPr/>
          <p:nvPr/>
        </p:nvSpPr>
        <p:spPr>
          <a:xfrm>
            <a:off x="363413" y="2355119"/>
            <a:ext cx="180002" cy="155368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700" dirty="0"/>
              <a:t>2</a:t>
            </a:r>
          </a:p>
        </p:txBody>
      </p:sp>
      <p:sp>
        <p:nvSpPr>
          <p:cNvPr id="18" name="Schemat blokowy: łącznik 17">
            <a:extLst>
              <a:ext uri="{FF2B5EF4-FFF2-40B4-BE49-F238E27FC236}">
                <a16:creationId xmlns:a16="http://schemas.microsoft.com/office/drawing/2014/main" id="{0AF1B4D1-79CE-76EE-9C35-E141364AC54C}"/>
              </a:ext>
            </a:extLst>
          </p:cNvPr>
          <p:cNvSpPr/>
          <p:nvPr/>
        </p:nvSpPr>
        <p:spPr>
          <a:xfrm>
            <a:off x="371680" y="3484102"/>
            <a:ext cx="180002" cy="155368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7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8784484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3876A1-5720-5B03-B51A-1D800408CE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3F03F113-D882-3A09-A9BB-D39FDDB60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350663" rtl="0" eaLnBrk="1" latinLnBrk="0" hangingPunct="1">
              <a:defRPr sz="6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0663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1327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1991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02653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53316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03980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54643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05306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5" name="Tytuł 4">
            <a:extLst>
              <a:ext uri="{FF2B5EF4-FFF2-40B4-BE49-F238E27FC236}">
                <a16:creationId xmlns:a16="http://schemas.microsoft.com/office/drawing/2014/main" id="{DA311E77-F759-6D8E-B7EB-29CF675EC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083" y="-59383"/>
            <a:ext cx="8118475" cy="565150"/>
          </a:xfrm>
        </p:spPr>
        <p:txBody>
          <a:bodyPr/>
          <a:lstStyle/>
          <a:p>
            <a:r>
              <a:rPr lang="pl-PL" dirty="0">
                <a:solidFill>
                  <a:schemeClr val="accent1"/>
                </a:solidFill>
              </a:rPr>
              <a:t>New KYC Solution-</a:t>
            </a:r>
            <a:r>
              <a:rPr lang="en-US" dirty="0"/>
              <a:t> </a:t>
            </a:r>
            <a:r>
              <a:rPr lang="pl-PL" dirty="0"/>
              <a:t>Architecture</a:t>
            </a:r>
          </a:p>
        </p:txBody>
      </p:sp>
      <p:sp>
        <p:nvSpPr>
          <p:cNvPr id="4" name="Prostokąt: zaokrąglone rogi 3">
            <a:extLst>
              <a:ext uri="{FF2B5EF4-FFF2-40B4-BE49-F238E27FC236}">
                <a16:creationId xmlns:a16="http://schemas.microsoft.com/office/drawing/2014/main" id="{B8760344-6DDC-2606-C859-4826C5E0EA5B}"/>
              </a:ext>
            </a:extLst>
          </p:cNvPr>
          <p:cNvSpPr/>
          <p:nvPr/>
        </p:nvSpPr>
        <p:spPr>
          <a:xfrm>
            <a:off x="399464" y="3328437"/>
            <a:ext cx="3002523" cy="157777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l-PL" b="1" u="sng" dirty="0" err="1"/>
              <a:t>PredictiveSolutions</a:t>
            </a:r>
            <a:endParaRPr lang="pl-PL" b="1" u="sng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00" dirty="0" err="1"/>
              <a:t>Verification</a:t>
            </a:r>
            <a:r>
              <a:rPr lang="pl-PL" sz="1000" dirty="0"/>
              <a:t> of </a:t>
            </a:r>
            <a:r>
              <a:rPr lang="pl-PL" sz="1000" dirty="0" err="1"/>
              <a:t>Customer</a:t>
            </a:r>
            <a:r>
              <a:rPr lang="pl-PL" sz="1000" dirty="0"/>
              <a:t> KYC (+ </a:t>
            </a:r>
            <a:r>
              <a:rPr lang="pl-PL" sz="1000" dirty="0" err="1"/>
              <a:t>external</a:t>
            </a:r>
            <a:r>
              <a:rPr lang="pl-PL" sz="1000" dirty="0"/>
              <a:t> </a:t>
            </a:r>
            <a:r>
              <a:rPr lang="pl-PL" sz="1000" dirty="0" err="1"/>
              <a:t>databases</a:t>
            </a:r>
            <a:r>
              <a:rPr lang="pl-PL" sz="10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00" dirty="0"/>
              <a:t>AML Risk </a:t>
            </a:r>
            <a:r>
              <a:rPr lang="pl-PL" sz="1000" dirty="0" err="1"/>
              <a:t>analysis</a:t>
            </a:r>
            <a:endParaRPr lang="pl-PL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00" dirty="0" err="1"/>
              <a:t>Customer</a:t>
            </a:r>
            <a:r>
              <a:rPr lang="pl-PL" sz="1000" dirty="0"/>
              <a:t> data </a:t>
            </a:r>
            <a:r>
              <a:rPr lang="pl-PL" sz="1000" dirty="0" err="1"/>
              <a:t>review</a:t>
            </a:r>
            <a:r>
              <a:rPr lang="pl-PL" sz="1000" dirty="0"/>
              <a:t> </a:t>
            </a:r>
            <a:r>
              <a:rPr lang="pl-PL" sz="1000" dirty="0" err="1"/>
              <a:t>process</a:t>
            </a:r>
            <a:endParaRPr lang="pl-PL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00" dirty="0"/>
              <a:t>Financial </a:t>
            </a:r>
            <a:r>
              <a:rPr lang="pl-PL" sz="1000" dirty="0" err="1"/>
              <a:t>security</a:t>
            </a:r>
            <a:r>
              <a:rPr lang="pl-PL" sz="1000" dirty="0"/>
              <a:t> </a:t>
            </a:r>
            <a:r>
              <a:rPr lang="pl-PL" sz="1000" dirty="0" err="1"/>
              <a:t>measures</a:t>
            </a:r>
            <a:endParaRPr lang="pl-PL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00" dirty="0" err="1"/>
              <a:t>goAML</a:t>
            </a:r>
            <a:endParaRPr lang="pl-PL" sz="1000" dirty="0"/>
          </a:p>
        </p:txBody>
      </p:sp>
      <p:sp>
        <p:nvSpPr>
          <p:cNvPr id="33" name="Prostokąt: zaokrąglone rogi 32">
            <a:extLst>
              <a:ext uri="{FF2B5EF4-FFF2-40B4-BE49-F238E27FC236}">
                <a16:creationId xmlns:a16="http://schemas.microsoft.com/office/drawing/2014/main" id="{4631106E-E553-8B5D-FC38-790D604BA3A9}"/>
              </a:ext>
            </a:extLst>
          </p:cNvPr>
          <p:cNvSpPr/>
          <p:nvPr/>
        </p:nvSpPr>
        <p:spPr>
          <a:xfrm>
            <a:off x="4534108" y="953320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UFE-Klient</a:t>
            </a:r>
          </a:p>
        </p:txBody>
      </p:sp>
      <p:sp>
        <p:nvSpPr>
          <p:cNvPr id="34" name="Prostokąt: zaokrąglone rogi 33">
            <a:extLst>
              <a:ext uri="{FF2B5EF4-FFF2-40B4-BE49-F238E27FC236}">
                <a16:creationId xmlns:a16="http://schemas.microsoft.com/office/drawing/2014/main" id="{F9FF8A1E-80F9-A27E-D1E2-495754549E6D}"/>
              </a:ext>
            </a:extLst>
          </p:cNvPr>
          <p:cNvSpPr/>
          <p:nvPr/>
        </p:nvSpPr>
        <p:spPr>
          <a:xfrm>
            <a:off x="2531833" y="2362248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PCV</a:t>
            </a:r>
          </a:p>
        </p:txBody>
      </p:sp>
      <p:sp>
        <p:nvSpPr>
          <p:cNvPr id="35" name="Prostokąt: zaokrąglone rogi 34">
            <a:extLst>
              <a:ext uri="{FF2B5EF4-FFF2-40B4-BE49-F238E27FC236}">
                <a16:creationId xmlns:a16="http://schemas.microsoft.com/office/drawing/2014/main" id="{15CB9FDD-9AE4-A970-E9DF-BBA75B4638E7}"/>
              </a:ext>
            </a:extLst>
          </p:cNvPr>
          <p:cNvSpPr/>
          <p:nvPr/>
        </p:nvSpPr>
        <p:spPr>
          <a:xfrm>
            <a:off x="546385" y="2357174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/>
              <a:t>DataPlatform</a:t>
            </a:r>
            <a:endParaRPr lang="pl-PL" dirty="0"/>
          </a:p>
        </p:txBody>
      </p:sp>
      <p:sp>
        <p:nvSpPr>
          <p:cNvPr id="42" name="Prostokąt: zaokrąglone rogi 41">
            <a:extLst>
              <a:ext uri="{FF2B5EF4-FFF2-40B4-BE49-F238E27FC236}">
                <a16:creationId xmlns:a16="http://schemas.microsoft.com/office/drawing/2014/main" id="{0D31FD04-6831-49F7-0DA7-DB8B3637970C}"/>
              </a:ext>
            </a:extLst>
          </p:cNvPr>
          <p:cNvSpPr/>
          <p:nvPr/>
        </p:nvSpPr>
        <p:spPr>
          <a:xfrm>
            <a:off x="6454811" y="3278501"/>
            <a:ext cx="1646636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UNICA</a:t>
            </a:r>
          </a:p>
        </p:txBody>
      </p:sp>
      <p:sp>
        <p:nvSpPr>
          <p:cNvPr id="49" name="Prostokąt: zaokrąglone rogi 48">
            <a:extLst>
              <a:ext uri="{FF2B5EF4-FFF2-40B4-BE49-F238E27FC236}">
                <a16:creationId xmlns:a16="http://schemas.microsoft.com/office/drawing/2014/main" id="{51F389A4-8A10-1306-C0A3-FA89FC481112}"/>
              </a:ext>
            </a:extLst>
          </p:cNvPr>
          <p:cNvSpPr/>
          <p:nvPr/>
        </p:nvSpPr>
        <p:spPr>
          <a:xfrm>
            <a:off x="4534108" y="1237529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UFE-Ankiety</a:t>
            </a:r>
          </a:p>
        </p:txBody>
      </p:sp>
      <p:sp>
        <p:nvSpPr>
          <p:cNvPr id="50" name="Prostokąt: zaokrąglone rogi 49">
            <a:extLst>
              <a:ext uri="{FF2B5EF4-FFF2-40B4-BE49-F238E27FC236}">
                <a16:creationId xmlns:a16="http://schemas.microsoft.com/office/drawing/2014/main" id="{7AF40B99-AD2E-45BC-571A-771605935E84}"/>
              </a:ext>
            </a:extLst>
          </p:cNvPr>
          <p:cNvSpPr/>
          <p:nvPr/>
        </p:nvSpPr>
        <p:spPr>
          <a:xfrm>
            <a:off x="6454811" y="3023218"/>
            <a:ext cx="163987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/>
              <a:t>Contact</a:t>
            </a:r>
            <a:r>
              <a:rPr lang="pl-PL" dirty="0"/>
              <a:t> dialog</a:t>
            </a:r>
          </a:p>
        </p:txBody>
      </p:sp>
      <p:sp>
        <p:nvSpPr>
          <p:cNvPr id="51" name="Prostokąt: zaokrąglone rogi 50">
            <a:extLst>
              <a:ext uri="{FF2B5EF4-FFF2-40B4-BE49-F238E27FC236}">
                <a16:creationId xmlns:a16="http://schemas.microsoft.com/office/drawing/2014/main" id="{6653C08D-776E-6519-D47A-DBB8243C43A8}"/>
              </a:ext>
            </a:extLst>
          </p:cNvPr>
          <p:cNvSpPr/>
          <p:nvPr/>
        </p:nvSpPr>
        <p:spPr>
          <a:xfrm>
            <a:off x="546385" y="2631204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EDW</a:t>
            </a:r>
          </a:p>
        </p:txBody>
      </p:sp>
      <p:sp>
        <p:nvSpPr>
          <p:cNvPr id="69" name="Prostokąt: zaokrąglone rogi 68">
            <a:extLst>
              <a:ext uri="{FF2B5EF4-FFF2-40B4-BE49-F238E27FC236}">
                <a16:creationId xmlns:a16="http://schemas.microsoft.com/office/drawing/2014/main" id="{21092A8B-80C4-814F-78DB-110DCE870E3C}"/>
              </a:ext>
            </a:extLst>
          </p:cNvPr>
          <p:cNvSpPr/>
          <p:nvPr/>
        </p:nvSpPr>
        <p:spPr>
          <a:xfrm>
            <a:off x="4351192" y="601106"/>
            <a:ext cx="1818078" cy="1800000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l-PL" dirty="0" err="1">
                <a:solidFill>
                  <a:schemeClr val="tx1"/>
                </a:solidFill>
              </a:rPr>
              <a:t>Frontend</a:t>
            </a: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72" name="Prostokąt: zaokrąglone rogi 71">
            <a:extLst>
              <a:ext uri="{FF2B5EF4-FFF2-40B4-BE49-F238E27FC236}">
                <a16:creationId xmlns:a16="http://schemas.microsoft.com/office/drawing/2014/main" id="{23C9119C-F8DE-EC63-E912-29D1FDFECF46}"/>
              </a:ext>
            </a:extLst>
          </p:cNvPr>
          <p:cNvSpPr/>
          <p:nvPr/>
        </p:nvSpPr>
        <p:spPr>
          <a:xfrm>
            <a:off x="2393361" y="2021746"/>
            <a:ext cx="1764000" cy="1187682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l-PL" dirty="0" err="1">
                <a:solidFill>
                  <a:schemeClr val="tx1"/>
                </a:solidFill>
              </a:rPr>
              <a:t>Process</a:t>
            </a: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73" name="Prostokąt: zaokrąglone rogi 72">
            <a:extLst>
              <a:ext uri="{FF2B5EF4-FFF2-40B4-BE49-F238E27FC236}">
                <a16:creationId xmlns:a16="http://schemas.microsoft.com/office/drawing/2014/main" id="{5E53006A-E77F-2031-2580-295D6398336F}"/>
              </a:ext>
            </a:extLst>
          </p:cNvPr>
          <p:cNvSpPr/>
          <p:nvPr/>
        </p:nvSpPr>
        <p:spPr>
          <a:xfrm>
            <a:off x="431954" y="619251"/>
            <a:ext cx="1764000" cy="1258549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l-PL" dirty="0">
                <a:solidFill>
                  <a:schemeClr val="tx1"/>
                </a:solidFill>
              </a:rPr>
              <a:t>Sales</a:t>
            </a:r>
          </a:p>
        </p:txBody>
      </p:sp>
      <p:sp>
        <p:nvSpPr>
          <p:cNvPr id="97" name="Prostokąt: zaokrąglone rogi 96">
            <a:extLst>
              <a:ext uri="{FF2B5EF4-FFF2-40B4-BE49-F238E27FC236}">
                <a16:creationId xmlns:a16="http://schemas.microsoft.com/office/drawing/2014/main" id="{BDA66F19-60A8-915D-A0B0-A157FEA7B638}"/>
              </a:ext>
            </a:extLst>
          </p:cNvPr>
          <p:cNvSpPr/>
          <p:nvPr/>
        </p:nvSpPr>
        <p:spPr>
          <a:xfrm>
            <a:off x="2392226" y="617705"/>
            <a:ext cx="1764000" cy="1251802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l-PL" dirty="0">
                <a:solidFill>
                  <a:schemeClr val="tx1"/>
                </a:solidFill>
              </a:rPr>
              <a:t>Remote </a:t>
            </a:r>
            <a:r>
              <a:rPr lang="pl-PL" dirty="0" err="1">
                <a:solidFill>
                  <a:schemeClr val="tx1"/>
                </a:solidFill>
              </a:rPr>
              <a:t>channels</a:t>
            </a: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99" name="Prostokąt: zaokrąglone rogi 98">
            <a:extLst>
              <a:ext uri="{FF2B5EF4-FFF2-40B4-BE49-F238E27FC236}">
                <a16:creationId xmlns:a16="http://schemas.microsoft.com/office/drawing/2014/main" id="{519F9A9B-3EC6-A6A6-9694-612AB1AEB938}"/>
              </a:ext>
            </a:extLst>
          </p:cNvPr>
          <p:cNvSpPr/>
          <p:nvPr/>
        </p:nvSpPr>
        <p:spPr>
          <a:xfrm>
            <a:off x="6293344" y="2492683"/>
            <a:ext cx="1981213" cy="1187682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l-PL" dirty="0" err="1">
                <a:solidFill>
                  <a:schemeClr val="tx1"/>
                </a:solidFill>
              </a:rPr>
              <a:t>Customer’s</a:t>
            </a:r>
            <a:r>
              <a:rPr lang="pl-PL" dirty="0">
                <a:solidFill>
                  <a:schemeClr val="tx1"/>
                </a:solidFill>
              </a:rPr>
              <a:t> </a:t>
            </a:r>
            <a:r>
              <a:rPr lang="pl-PL" dirty="0" err="1">
                <a:solidFill>
                  <a:schemeClr val="tx1"/>
                </a:solidFill>
              </a:rPr>
              <a:t>communication</a:t>
            </a: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00" name="Prostokąt: zaokrąglone rogi 99">
            <a:extLst>
              <a:ext uri="{FF2B5EF4-FFF2-40B4-BE49-F238E27FC236}">
                <a16:creationId xmlns:a16="http://schemas.microsoft.com/office/drawing/2014/main" id="{E5C5B896-88EB-DB4B-F215-C040F00889D0}"/>
              </a:ext>
            </a:extLst>
          </p:cNvPr>
          <p:cNvSpPr/>
          <p:nvPr/>
        </p:nvSpPr>
        <p:spPr>
          <a:xfrm>
            <a:off x="431955" y="2020525"/>
            <a:ext cx="1764000" cy="1165188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l-PL" dirty="0">
                <a:solidFill>
                  <a:schemeClr val="tx1"/>
                </a:solidFill>
              </a:rPr>
              <a:t>Data</a:t>
            </a:r>
          </a:p>
        </p:txBody>
      </p:sp>
      <p:sp>
        <p:nvSpPr>
          <p:cNvPr id="102" name="Prostokąt: zaokrąglone rogi 101">
            <a:extLst>
              <a:ext uri="{FF2B5EF4-FFF2-40B4-BE49-F238E27FC236}">
                <a16:creationId xmlns:a16="http://schemas.microsoft.com/office/drawing/2014/main" id="{73705789-0C26-CDB2-0969-3308FEC1C038}"/>
              </a:ext>
            </a:extLst>
          </p:cNvPr>
          <p:cNvSpPr/>
          <p:nvPr/>
        </p:nvSpPr>
        <p:spPr>
          <a:xfrm>
            <a:off x="521956" y="953320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/>
              <a:t>ProCA</a:t>
            </a:r>
            <a:endParaRPr lang="pl-PL" dirty="0"/>
          </a:p>
        </p:txBody>
      </p:sp>
      <p:sp>
        <p:nvSpPr>
          <p:cNvPr id="103" name="Prostokąt: zaokrąglone rogi 102">
            <a:extLst>
              <a:ext uri="{FF2B5EF4-FFF2-40B4-BE49-F238E27FC236}">
                <a16:creationId xmlns:a16="http://schemas.microsoft.com/office/drawing/2014/main" id="{9E1DBD47-76A1-B724-937F-75E71D62D3FB}"/>
              </a:ext>
            </a:extLst>
          </p:cNvPr>
          <p:cNvSpPr/>
          <p:nvPr/>
        </p:nvSpPr>
        <p:spPr>
          <a:xfrm>
            <a:off x="2530304" y="953320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CA24</a:t>
            </a:r>
          </a:p>
        </p:txBody>
      </p:sp>
      <p:sp>
        <p:nvSpPr>
          <p:cNvPr id="104" name="Prostokąt: zaokrąglone rogi 103">
            <a:extLst>
              <a:ext uri="{FF2B5EF4-FFF2-40B4-BE49-F238E27FC236}">
                <a16:creationId xmlns:a16="http://schemas.microsoft.com/office/drawing/2014/main" id="{F7207DA3-E038-B222-246F-4D5F726499E1}"/>
              </a:ext>
            </a:extLst>
          </p:cNvPr>
          <p:cNvSpPr/>
          <p:nvPr/>
        </p:nvSpPr>
        <p:spPr>
          <a:xfrm>
            <a:off x="2530304" y="1233916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/>
              <a:t>nMobi</a:t>
            </a:r>
            <a:endParaRPr lang="pl-PL" dirty="0"/>
          </a:p>
        </p:txBody>
      </p:sp>
      <p:sp>
        <p:nvSpPr>
          <p:cNvPr id="105" name="Prostokąt: zaokrąglone rogi 104">
            <a:extLst>
              <a:ext uri="{FF2B5EF4-FFF2-40B4-BE49-F238E27FC236}">
                <a16:creationId xmlns:a16="http://schemas.microsoft.com/office/drawing/2014/main" id="{DE76051C-0091-1822-45AC-52C2AF654D98}"/>
              </a:ext>
            </a:extLst>
          </p:cNvPr>
          <p:cNvSpPr/>
          <p:nvPr/>
        </p:nvSpPr>
        <p:spPr>
          <a:xfrm>
            <a:off x="4534108" y="2101868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/>
              <a:t>Eximee</a:t>
            </a:r>
            <a:endParaRPr lang="pl-PL" dirty="0"/>
          </a:p>
        </p:txBody>
      </p:sp>
      <p:sp>
        <p:nvSpPr>
          <p:cNvPr id="106" name="Prostokąt: zaokrąglone rogi 105">
            <a:extLst>
              <a:ext uri="{FF2B5EF4-FFF2-40B4-BE49-F238E27FC236}">
                <a16:creationId xmlns:a16="http://schemas.microsoft.com/office/drawing/2014/main" id="{F10168FE-87B2-92A7-54F6-A34A566BE2AE}"/>
              </a:ext>
            </a:extLst>
          </p:cNvPr>
          <p:cNvSpPr/>
          <p:nvPr/>
        </p:nvSpPr>
        <p:spPr>
          <a:xfrm>
            <a:off x="509384" y="1229677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Hipoteka</a:t>
            </a:r>
          </a:p>
        </p:txBody>
      </p:sp>
      <p:sp>
        <p:nvSpPr>
          <p:cNvPr id="107" name="Prostokąt: zaokrąglone rogi 106">
            <a:extLst>
              <a:ext uri="{FF2B5EF4-FFF2-40B4-BE49-F238E27FC236}">
                <a16:creationId xmlns:a16="http://schemas.microsoft.com/office/drawing/2014/main" id="{C2F12B28-5A94-238E-1E51-C08D4A398F04}"/>
              </a:ext>
            </a:extLst>
          </p:cNvPr>
          <p:cNvSpPr/>
          <p:nvPr/>
        </p:nvSpPr>
        <p:spPr>
          <a:xfrm>
            <a:off x="509384" y="1506034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Systemy LCH</a:t>
            </a:r>
          </a:p>
        </p:txBody>
      </p:sp>
      <p:sp>
        <p:nvSpPr>
          <p:cNvPr id="108" name="Prostokąt: zaokrąglone rogi 107">
            <a:extLst>
              <a:ext uri="{FF2B5EF4-FFF2-40B4-BE49-F238E27FC236}">
                <a16:creationId xmlns:a16="http://schemas.microsoft.com/office/drawing/2014/main" id="{072BAE12-B276-962E-B597-77008F21CC59}"/>
              </a:ext>
            </a:extLst>
          </p:cNvPr>
          <p:cNvSpPr/>
          <p:nvPr/>
        </p:nvSpPr>
        <p:spPr>
          <a:xfrm>
            <a:off x="546385" y="2905234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KYC </a:t>
            </a:r>
            <a:r>
              <a:rPr lang="pl-PL" dirty="0" err="1"/>
              <a:t>DataMart</a:t>
            </a:r>
            <a:endParaRPr lang="pl-PL" dirty="0"/>
          </a:p>
        </p:txBody>
      </p:sp>
      <p:sp>
        <p:nvSpPr>
          <p:cNvPr id="109" name="Prostokąt: zaokrąglone rogi 108">
            <a:extLst>
              <a:ext uri="{FF2B5EF4-FFF2-40B4-BE49-F238E27FC236}">
                <a16:creationId xmlns:a16="http://schemas.microsoft.com/office/drawing/2014/main" id="{25B878A3-2F17-D6A2-06AF-40D7C434B2F6}"/>
              </a:ext>
            </a:extLst>
          </p:cNvPr>
          <p:cNvSpPr/>
          <p:nvPr/>
        </p:nvSpPr>
        <p:spPr>
          <a:xfrm>
            <a:off x="2530304" y="1517248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CA24Biznes</a:t>
            </a:r>
          </a:p>
        </p:txBody>
      </p:sp>
      <p:sp>
        <p:nvSpPr>
          <p:cNvPr id="110" name="Prostokąt: zaokrąglone rogi 109">
            <a:extLst>
              <a:ext uri="{FF2B5EF4-FFF2-40B4-BE49-F238E27FC236}">
                <a16:creationId xmlns:a16="http://schemas.microsoft.com/office/drawing/2014/main" id="{5B841389-C5DE-F56E-D408-6ECF598D4382}"/>
              </a:ext>
            </a:extLst>
          </p:cNvPr>
          <p:cNvSpPr/>
          <p:nvPr/>
        </p:nvSpPr>
        <p:spPr>
          <a:xfrm>
            <a:off x="4534108" y="1798630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Endor</a:t>
            </a:r>
          </a:p>
        </p:txBody>
      </p:sp>
      <p:sp>
        <p:nvSpPr>
          <p:cNvPr id="111" name="Prostokąt: zaokrąglone rogi 110">
            <a:extLst>
              <a:ext uri="{FF2B5EF4-FFF2-40B4-BE49-F238E27FC236}">
                <a16:creationId xmlns:a16="http://schemas.microsoft.com/office/drawing/2014/main" id="{819A019E-5A08-74A3-5A3B-69F0CF5B7924}"/>
              </a:ext>
            </a:extLst>
          </p:cNvPr>
          <p:cNvSpPr/>
          <p:nvPr/>
        </p:nvSpPr>
        <p:spPr>
          <a:xfrm>
            <a:off x="6293346" y="601106"/>
            <a:ext cx="1981212" cy="1800000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l-PL" dirty="0">
                <a:solidFill>
                  <a:schemeClr val="tx1"/>
                </a:solidFill>
              </a:rPr>
              <a:t>CA </a:t>
            </a:r>
            <a:r>
              <a:rPr lang="pl-PL" dirty="0" err="1">
                <a:solidFill>
                  <a:schemeClr val="tx1"/>
                </a:solidFill>
              </a:rPr>
              <a:t>Group</a:t>
            </a: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12" name="Prostokąt: zaokrąglone rogi 111">
            <a:extLst>
              <a:ext uri="{FF2B5EF4-FFF2-40B4-BE49-F238E27FC236}">
                <a16:creationId xmlns:a16="http://schemas.microsoft.com/office/drawing/2014/main" id="{7E62C8D9-5254-8A4E-ECFE-2EB5D6184B61}"/>
              </a:ext>
            </a:extLst>
          </p:cNvPr>
          <p:cNvSpPr/>
          <p:nvPr/>
        </p:nvSpPr>
        <p:spPr>
          <a:xfrm>
            <a:off x="6454811" y="956468"/>
            <a:ext cx="1658278" cy="94279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/>
              <a:t>Palantir</a:t>
            </a:r>
            <a:r>
              <a:rPr lang="pl-PL" dirty="0"/>
              <a:t> DD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900" dirty="0" err="1"/>
              <a:t>Scoring</a:t>
            </a:r>
            <a:r>
              <a:rPr lang="pl-PL" sz="900" dirty="0"/>
              <a:t> of risk </a:t>
            </a:r>
            <a:r>
              <a:rPr lang="pl-PL" sz="900" dirty="0" err="1"/>
              <a:t>group</a:t>
            </a:r>
            <a:endParaRPr lang="pl-PL" sz="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900" dirty="0" err="1"/>
              <a:t>Negative</a:t>
            </a:r>
            <a:r>
              <a:rPr lang="pl-PL" sz="900" dirty="0"/>
              <a:t> ne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900" dirty="0" err="1"/>
              <a:t>Transaction</a:t>
            </a:r>
            <a:r>
              <a:rPr lang="pl-PL" sz="900" dirty="0"/>
              <a:t> Analysis</a:t>
            </a:r>
          </a:p>
        </p:txBody>
      </p:sp>
      <p:sp>
        <p:nvSpPr>
          <p:cNvPr id="113" name="Prostokąt: zaokrąglone rogi 112">
            <a:extLst>
              <a:ext uri="{FF2B5EF4-FFF2-40B4-BE49-F238E27FC236}">
                <a16:creationId xmlns:a16="http://schemas.microsoft.com/office/drawing/2014/main" id="{1B5BB506-0565-2AFD-96B8-16D5EE5D56E6}"/>
              </a:ext>
            </a:extLst>
          </p:cNvPr>
          <p:cNvSpPr/>
          <p:nvPr/>
        </p:nvSpPr>
        <p:spPr>
          <a:xfrm>
            <a:off x="6454811" y="1946931"/>
            <a:ext cx="1660339" cy="29193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/>
              <a:t>FircosoftTrust</a:t>
            </a:r>
            <a:endParaRPr lang="pl-PL" dirty="0"/>
          </a:p>
        </p:txBody>
      </p:sp>
      <p:sp>
        <p:nvSpPr>
          <p:cNvPr id="114" name="Prostokąt: zaokrąglone rogi 113">
            <a:extLst>
              <a:ext uri="{FF2B5EF4-FFF2-40B4-BE49-F238E27FC236}">
                <a16:creationId xmlns:a16="http://schemas.microsoft.com/office/drawing/2014/main" id="{1E5C24A4-5B28-3A1F-719B-ACE42ABDF6C7}"/>
              </a:ext>
            </a:extLst>
          </p:cNvPr>
          <p:cNvSpPr/>
          <p:nvPr/>
        </p:nvSpPr>
        <p:spPr>
          <a:xfrm>
            <a:off x="4534108" y="1508027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UFE-360</a:t>
            </a:r>
          </a:p>
        </p:txBody>
      </p:sp>
      <p:sp>
        <p:nvSpPr>
          <p:cNvPr id="115" name="Prostokąt: zaokrąglone rogi 114">
            <a:extLst>
              <a:ext uri="{FF2B5EF4-FFF2-40B4-BE49-F238E27FC236}">
                <a16:creationId xmlns:a16="http://schemas.microsoft.com/office/drawing/2014/main" id="{6A881999-F32B-4500-990D-19734E158A19}"/>
              </a:ext>
            </a:extLst>
          </p:cNvPr>
          <p:cNvSpPr/>
          <p:nvPr/>
        </p:nvSpPr>
        <p:spPr>
          <a:xfrm>
            <a:off x="4353162" y="2497816"/>
            <a:ext cx="1816108" cy="1187682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l-PL" dirty="0" err="1">
                <a:solidFill>
                  <a:schemeClr val="tx1"/>
                </a:solidFill>
              </a:rPr>
              <a:t>Customer</a:t>
            </a: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16" name="Prostokąt: zaokrąglone rogi 115">
            <a:extLst>
              <a:ext uri="{FF2B5EF4-FFF2-40B4-BE49-F238E27FC236}">
                <a16:creationId xmlns:a16="http://schemas.microsoft.com/office/drawing/2014/main" id="{60233FC3-93D6-4129-4BFE-735DF5318E0B}"/>
              </a:ext>
            </a:extLst>
          </p:cNvPr>
          <p:cNvSpPr/>
          <p:nvPr/>
        </p:nvSpPr>
        <p:spPr>
          <a:xfrm>
            <a:off x="4431678" y="2920138"/>
            <a:ext cx="1606926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CIS</a:t>
            </a:r>
          </a:p>
        </p:txBody>
      </p:sp>
      <p:sp>
        <p:nvSpPr>
          <p:cNvPr id="117" name="Prostokąt: zaokrąglone rogi 116">
            <a:extLst>
              <a:ext uri="{FF2B5EF4-FFF2-40B4-BE49-F238E27FC236}">
                <a16:creationId xmlns:a16="http://schemas.microsoft.com/office/drawing/2014/main" id="{75B3E23A-445E-FF96-5B65-A48EEE381F72}"/>
              </a:ext>
            </a:extLst>
          </p:cNvPr>
          <p:cNvSpPr/>
          <p:nvPr/>
        </p:nvSpPr>
        <p:spPr>
          <a:xfrm>
            <a:off x="4431678" y="3213506"/>
            <a:ext cx="1606926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/>
              <a:t>PartyProfile</a:t>
            </a:r>
            <a:endParaRPr lang="pl-PL" dirty="0"/>
          </a:p>
        </p:txBody>
      </p:sp>
      <p:sp>
        <p:nvSpPr>
          <p:cNvPr id="2" name="Prostokąt: zaokrąglone rogi 1">
            <a:extLst>
              <a:ext uri="{FF2B5EF4-FFF2-40B4-BE49-F238E27FC236}">
                <a16:creationId xmlns:a16="http://schemas.microsoft.com/office/drawing/2014/main" id="{59988B25-29B4-D694-45BF-E5AE20B13ACA}"/>
              </a:ext>
            </a:extLst>
          </p:cNvPr>
          <p:cNvSpPr/>
          <p:nvPr/>
        </p:nvSpPr>
        <p:spPr>
          <a:xfrm>
            <a:off x="4489664" y="4064740"/>
            <a:ext cx="1512000" cy="216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Profile</a:t>
            </a:r>
          </a:p>
        </p:txBody>
      </p:sp>
      <p:sp>
        <p:nvSpPr>
          <p:cNvPr id="6" name="Prostokąt: zaokrąglone rogi 5">
            <a:extLst>
              <a:ext uri="{FF2B5EF4-FFF2-40B4-BE49-F238E27FC236}">
                <a16:creationId xmlns:a16="http://schemas.microsoft.com/office/drawing/2014/main" id="{65FFD626-7293-2B28-1FDE-A6BC54423F3D}"/>
              </a:ext>
            </a:extLst>
          </p:cNvPr>
          <p:cNvSpPr/>
          <p:nvPr/>
        </p:nvSpPr>
        <p:spPr>
          <a:xfrm>
            <a:off x="4351192" y="3724238"/>
            <a:ext cx="1764000" cy="1187682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l-PL" dirty="0" err="1">
                <a:solidFill>
                  <a:schemeClr val="tx1"/>
                </a:solidFill>
              </a:rPr>
              <a:t>Core</a:t>
            </a:r>
            <a:r>
              <a:rPr lang="pl-PL" dirty="0">
                <a:solidFill>
                  <a:schemeClr val="tx1"/>
                </a:solidFill>
              </a:rPr>
              <a:t> Systems</a:t>
            </a:r>
          </a:p>
        </p:txBody>
      </p:sp>
    </p:spTree>
    <p:extLst>
      <p:ext uri="{BB962C8B-B14F-4D97-AF65-F5344CB8AC3E}">
        <p14:creationId xmlns:p14="http://schemas.microsoft.com/office/powerpoint/2010/main" val="33135969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E8279B-0E05-FBCE-F72A-3AEE0EA536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F79C9FF6-1930-3304-9612-8078BEEF5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5008500"/>
            <a:ext cx="180000" cy="135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pl-PL"/>
            </a:defPPr>
            <a:lvl1pPr marL="0" algn="l" defTabSz="350663" rtl="0" eaLnBrk="1" latinLnBrk="0" hangingPunct="1">
              <a:defRPr sz="600" kern="1200" cap="all" baseline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0663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1327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1991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02653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53316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03980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54643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05306" algn="l" defTabSz="350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5" name="Tytuł 4">
            <a:extLst>
              <a:ext uri="{FF2B5EF4-FFF2-40B4-BE49-F238E27FC236}">
                <a16:creationId xmlns:a16="http://schemas.microsoft.com/office/drawing/2014/main" id="{90E34BBF-5855-24A3-ECF4-B122C3EDA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083" y="-59383"/>
            <a:ext cx="8118475" cy="565150"/>
          </a:xfrm>
        </p:spPr>
        <p:txBody>
          <a:bodyPr/>
          <a:lstStyle/>
          <a:p>
            <a:r>
              <a:rPr lang="pl-PL" dirty="0">
                <a:solidFill>
                  <a:schemeClr val="accent1"/>
                </a:solidFill>
              </a:rPr>
              <a:t>New KYC Solution-</a:t>
            </a:r>
            <a:r>
              <a:rPr lang="en-US" dirty="0"/>
              <a:t> </a:t>
            </a:r>
            <a:r>
              <a:rPr lang="pl-PL" dirty="0"/>
              <a:t>T</a:t>
            </a:r>
            <a:r>
              <a:rPr lang="en-US" dirty="0" err="1"/>
              <a:t>imeline</a:t>
            </a:r>
            <a:r>
              <a:rPr lang="en-US" dirty="0"/>
              <a:t> </a:t>
            </a:r>
            <a:endParaRPr lang="pl-PL" dirty="0"/>
          </a:p>
        </p:txBody>
      </p:sp>
      <p:graphicFrame>
        <p:nvGraphicFramePr>
          <p:cNvPr id="7" name="Tabela 6">
            <a:extLst>
              <a:ext uri="{FF2B5EF4-FFF2-40B4-BE49-F238E27FC236}">
                <a16:creationId xmlns:a16="http://schemas.microsoft.com/office/drawing/2014/main" id="{9130B4E8-184A-7B27-90BF-139848F094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7971139"/>
              </p:ext>
            </p:extLst>
          </p:nvPr>
        </p:nvGraphicFramePr>
        <p:xfrm>
          <a:off x="1808332" y="2247316"/>
          <a:ext cx="6008990" cy="8126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2230">
                  <a:extLst>
                    <a:ext uri="{9D8B030D-6E8A-4147-A177-3AD203B41FA5}">
                      <a16:colId xmlns:a16="http://schemas.microsoft.com/office/drawing/2014/main" val="2228928078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560114987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3474364561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59419641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3810580714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639399747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2836103523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2555877068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2397066292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2190125775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2502705632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454973805"/>
                    </a:ext>
                  </a:extLst>
                </a:gridCol>
                <a:gridCol w="462230">
                  <a:extLst>
                    <a:ext uri="{9D8B030D-6E8A-4147-A177-3AD203B41FA5}">
                      <a16:colId xmlns:a16="http://schemas.microsoft.com/office/drawing/2014/main" val="698437953"/>
                    </a:ext>
                  </a:extLst>
                </a:gridCol>
              </a:tblGrid>
              <a:tr h="170760"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January</a:t>
                      </a: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l-PL" sz="800" dirty="0" err="1"/>
                        <a:t>February</a:t>
                      </a:r>
                      <a:endParaRPr lang="pl-PL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Mar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l-PL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l-PL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l-PL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l-PL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 err="1"/>
                        <a:t>April</a:t>
                      </a:r>
                      <a:endParaRPr lang="pl-PL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M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 err="1"/>
                        <a:t>June</a:t>
                      </a:r>
                      <a:endParaRPr lang="pl-PL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8624948"/>
                  </a:ext>
                </a:extLst>
              </a:tr>
              <a:tr h="477347"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21.01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31.01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01.02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08.02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09.02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15.02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16.02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22.02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23.02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28.02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01.03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08.03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09.03 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15.03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16.03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22.03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23.03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29.03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30.03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31.03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01.04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30.04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01.05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31.05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01.06</a:t>
                      </a:r>
                    </a:p>
                    <a:p>
                      <a:pPr algn="ctr"/>
                      <a:r>
                        <a:rPr lang="pl-PL" sz="800" dirty="0"/>
                        <a:t>-</a:t>
                      </a:r>
                    </a:p>
                    <a:p>
                      <a:pPr algn="ctr"/>
                      <a:r>
                        <a:rPr lang="pl-PL" sz="800" dirty="0"/>
                        <a:t>30.06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196815"/>
                  </a:ext>
                </a:extLst>
              </a:tr>
            </a:tbl>
          </a:graphicData>
        </a:graphic>
      </p:graphicFrame>
      <p:cxnSp>
        <p:nvCxnSpPr>
          <p:cNvPr id="10" name="Gerade Verbindung 3">
            <a:extLst>
              <a:ext uri="{FF2B5EF4-FFF2-40B4-BE49-F238E27FC236}">
                <a16:creationId xmlns:a16="http://schemas.microsoft.com/office/drawing/2014/main" id="{8D2331B2-99F9-3F52-6E09-9885CB46EA57}"/>
              </a:ext>
            </a:extLst>
          </p:cNvPr>
          <p:cNvCxnSpPr>
            <a:cxnSpLocks/>
          </p:cNvCxnSpPr>
          <p:nvPr/>
        </p:nvCxnSpPr>
        <p:spPr bwMode="gray">
          <a:xfrm flipV="1">
            <a:off x="1892814" y="1610751"/>
            <a:ext cx="0" cy="604292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grpSp>
        <p:nvGrpSpPr>
          <p:cNvPr id="11" name="Group 24">
            <a:extLst>
              <a:ext uri="{FF2B5EF4-FFF2-40B4-BE49-F238E27FC236}">
                <a16:creationId xmlns:a16="http://schemas.microsoft.com/office/drawing/2014/main" id="{72FF11C3-C0F7-7FE5-3C41-103381C43D8A}"/>
              </a:ext>
            </a:extLst>
          </p:cNvPr>
          <p:cNvGrpSpPr/>
          <p:nvPr/>
        </p:nvGrpSpPr>
        <p:grpSpPr>
          <a:xfrm>
            <a:off x="1379741" y="1488116"/>
            <a:ext cx="672365" cy="443056"/>
            <a:chOff x="5774421" y="1932826"/>
            <a:chExt cx="1351240" cy="2212434"/>
          </a:xfrm>
        </p:grpSpPr>
        <p:sp>
          <p:nvSpPr>
            <p:cNvPr id="12" name="Rounded Rectangle 23">
              <a:extLst>
                <a:ext uri="{FF2B5EF4-FFF2-40B4-BE49-F238E27FC236}">
                  <a16:creationId xmlns:a16="http://schemas.microsoft.com/office/drawing/2014/main" id="{4D35CFA6-97D3-A9BD-00E6-79AFCA822D30}"/>
                </a:ext>
              </a:extLst>
            </p:cNvPr>
            <p:cNvSpPr/>
            <p:nvPr/>
          </p:nvSpPr>
          <p:spPr>
            <a:xfrm>
              <a:off x="5774421" y="1932826"/>
              <a:ext cx="1351240" cy="221243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pl-PL" sz="600" kern="0" dirty="0">
                  <a:latin typeface="+mj-lt"/>
                </a:rPr>
                <a:t>CABP DDC </a:t>
              </a:r>
              <a:r>
                <a:rPr lang="pl-PL" sz="600" kern="0" dirty="0" err="1">
                  <a:latin typeface="+mj-lt"/>
                </a:rPr>
                <a:t>discussion</a:t>
              </a:r>
              <a:r>
                <a:rPr lang="pl-PL" sz="600" kern="0" dirty="0">
                  <a:latin typeface="+mj-lt"/>
                </a:rPr>
                <a:t> on </a:t>
              </a:r>
              <a:r>
                <a:rPr lang="pl-PL" sz="600" kern="0" dirty="0" err="1">
                  <a:latin typeface="+mj-lt"/>
                </a:rPr>
                <a:t>short-listed</a:t>
              </a:r>
              <a:r>
                <a:rPr lang="pl-PL" sz="600" kern="0" dirty="0">
                  <a:latin typeface="+mj-lt"/>
                </a:rPr>
                <a:t> </a:t>
              </a:r>
              <a:r>
                <a:rPr lang="pl-PL" sz="600" kern="0" dirty="0" err="1">
                  <a:latin typeface="+mj-lt"/>
                </a:rPr>
                <a:t>suppliers</a:t>
              </a:r>
              <a:endParaRPr lang="en-US" sz="600" kern="0" dirty="0">
                <a:latin typeface="+mj-lt"/>
              </a:endParaRPr>
            </a:p>
          </p:txBody>
        </p:sp>
        <p:sp>
          <p:nvSpPr>
            <p:cNvPr id="13" name="Rechteck 53">
              <a:extLst>
                <a:ext uri="{FF2B5EF4-FFF2-40B4-BE49-F238E27FC236}">
                  <a16:creationId xmlns:a16="http://schemas.microsoft.com/office/drawing/2014/main" id="{1D132C25-5F15-7E1D-3EF5-E929F004519B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20" name="Rectangle à coins arrondis 174">
            <a:extLst>
              <a:ext uri="{FF2B5EF4-FFF2-40B4-BE49-F238E27FC236}">
                <a16:creationId xmlns:a16="http://schemas.microsoft.com/office/drawing/2014/main" id="{F16D46C2-6120-8EC3-3740-3332EB68B157}"/>
              </a:ext>
            </a:extLst>
          </p:cNvPr>
          <p:cNvSpPr/>
          <p:nvPr/>
        </p:nvSpPr>
        <p:spPr>
          <a:xfrm>
            <a:off x="345288" y="1104190"/>
            <a:ext cx="629667" cy="703804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kern="0" dirty="0">
                <a:solidFill>
                  <a:srgbClr val="FFFFFF"/>
                </a:solidFill>
              </a:rPr>
              <a:t>work at the Bank</a:t>
            </a:r>
          </a:p>
        </p:txBody>
      </p:sp>
      <p:sp>
        <p:nvSpPr>
          <p:cNvPr id="22" name="Text Box 49">
            <a:extLst>
              <a:ext uri="{FF2B5EF4-FFF2-40B4-BE49-F238E27FC236}">
                <a16:creationId xmlns:a16="http://schemas.microsoft.com/office/drawing/2014/main" id="{96301E3A-0435-EA3C-3991-4E90B11C482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364413" y="1384314"/>
            <a:ext cx="558143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96CA12"/>
                </a:solidFill>
                <a:latin typeface="Calibri"/>
              </a:rPr>
              <a:t>DONE</a:t>
            </a:r>
            <a:endParaRPr lang="en-GB" sz="800" b="1" kern="0" dirty="0">
              <a:solidFill>
                <a:srgbClr val="96CA12"/>
              </a:solidFill>
              <a:latin typeface="Calibri"/>
            </a:endParaRPr>
          </a:p>
        </p:txBody>
      </p:sp>
      <p:sp>
        <p:nvSpPr>
          <p:cNvPr id="23" name="Rectangle à coins arrondis 174">
            <a:extLst>
              <a:ext uri="{FF2B5EF4-FFF2-40B4-BE49-F238E27FC236}">
                <a16:creationId xmlns:a16="http://schemas.microsoft.com/office/drawing/2014/main" id="{A540246E-DCA1-83F4-167B-916489FB7911}"/>
              </a:ext>
            </a:extLst>
          </p:cNvPr>
          <p:cNvSpPr/>
          <p:nvPr/>
        </p:nvSpPr>
        <p:spPr>
          <a:xfrm>
            <a:off x="337351" y="2764804"/>
            <a:ext cx="629668" cy="703804"/>
          </a:xfrm>
          <a:prstGeom prst="roundRect">
            <a:avLst/>
          </a:prstGeom>
          <a:solidFill>
            <a:schemeClr val="bg2">
              <a:lumMod val="50000"/>
            </a:scheme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l-PL" sz="800" b="1" kern="0" dirty="0" err="1">
                <a:solidFill>
                  <a:srgbClr val="FFFFFF"/>
                </a:solidFill>
              </a:rPr>
              <a:t>work</a:t>
            </a:r>
            <a:r>
              <a:rPr lang="pl-PL" sz="800" b="1" kern="0" dirty="0">
                <a:solidFill>
                  <a:srgbClr val="FFFFFF"/>
                </a:solidFill>
              </a:rPr>
              <a:t> with </a:t>
            </a:r>
            <a:r>
              <a:rPr lang="pl-PL" sz="800" b="1" kern="0" dirty="0" err="1">
                <a:solidFill>
                  <a:srgbClr val="FFFFFF"/>
                </a:solidFill>
              </a:rPr>
              <a:t>Vendor</a:t>
            </a:r>
            <a:endParaRPr lang="en-GB" sz="800" b="1" kern="0" dirty="0">
              <a:solidFill>
                <a:srgbClr val="FFFFFF"/>
              </a:solidFill>
            </a:endParaRPr>
          </a:p>
        </p:txBody>
      </p:sp>
      <p:cxnSp>
        <p:nvCxnSpPr>
          <p:cNvPr id="24" name="Gerade Verbindung 3">
            <a:extLst>
              <a:ext uri="{FF2B5EF4-FFF2-40B4-BE49-F238E27FC236}">
                <a16:creationId xmlns:a16="http://schemas.microsoft.com/office/drawing/2014/main" id="{3AB6577D-14F7-482D-2A73-3C01C3D68E9D}"/>
              </a:ext>
            </a:extLst>
          </p:cNvPr>
          <p:cNvCxnSpPr>
            <a:cxnSpLocks/>
          </p:cNvCxnSpPr>
          <p:nvPr/>
        </p:nvCxnSpPr>
        <p:spPr bwMode="gray">
          <a:xfrm flipV="1">
            <a:off x="2355790" y="1664614"/>
            <a:ext cx="0" cy="565616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cxnSp>
        <p:nvCxnSpPr>
          <p:cNvPr id="38" name="Gerade Verbindung 3">
            <a:extLst>
              <a:ext uri="{FF2B5EF4-FFF2-40B4-BE49-F238E27FC236}">
                <a16:creationId xmlns:a16="http://schemas.microsoft.com/office/drawing/2014/main" id="{80616ADA-DDFE-71E5-7864-8112B32C9AEA}"/>
              </a:ext>
            </a:extLst>
          </p:cNvPr>
          <p:cNvCxnSpPr>
            <a:cxnSpLocks/>
          </p:cNvCxnSpPr>
          <p:nvPr/>
        </p:nvCxnSpPr>
        <p:spPr bwMode="gray">
          <a:xfrm>
            <a:off x="2319111" y="2999094"/>
            <a:ext cx="0" cy="737300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grpSp>
        <p:nvGrpSpPr>
          <p:cNvPr id="39" name="Group 24">
            <a:extLst>
              <a:ext uri="{FF2B5EF4-FFF2-40B4-BE49-F238E27FC236}">
                <a16:creationId xmlns:a16="http://schemas.microsoft.com/office/drawing/2014/main" id="{629FFD4D-5FFF-7127-9660-9FA493E71D44}"/>
              </a:ext>
            </a:extLst>
          </p:cNvPr>
          <p:cNvGrpSpPr/>
          <p:nvPr/>
        </p:nvGrpSpPr>
        <p:grpSpPr>
          <a:xfrm>
            <a:off x="1750081" y="3290417"/>
            <a:ext cx="1000288" cy="259056"/>
            <a:chOff x="5720844" y="1932826"/>
            <a:chExt cx="1363657" cy="2212434"/>
          </a:xfrm>
        </p:grpSpPr>
        <p:sp>
          <p:nvSpPr>
            <p:cNvPr id="40" name="Rounded Rectangle 23">
              <a:extLst>
                <a:ext uri="{FF2B5EF4-FFF2-40B4-BE49-F238E27FC236}">
                  <a16:creationId xmlns:a16="http://schemas.microsoft.com/office/drawing/2014/main" id="{40B752DB-0433-3CDD-8D2A-54BAC1848AFD}"/>
                </a:ext>
              </a:extLst>
            </p:cNvPr>
            <p:cNvSpPr/>
            <p:nvPr/>
          </p:nvSpPr>
          <p:spPr>
            <a:xfrm>
              <a:off x="5720844" y="1932826"/>
              <a:ext cx="1351240" cy="221243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pl-PL" sz="600" kern="0" dirty="0" err="1">
                  <a:latin typeface="+mj-lt"/>
                </a:rPr>
                <a:t>Negotiations</a:t>
              </a:r>
              <a:r>
                <a:rPr lang="pl-PL" sz="600" kern="0" dirty="0">
                  <a:latin typeface="+mj-lt"/>
                </a:rPr>
                <a:t> </a:t>
              </a:r>
              <a:r>
                <a:rPr lang="pl-PL" sz="600" kern="0" dirty="0" err="1">
                  <a:latin typeface="+mj-lt"/>
                </a:rPr>
                <a:t>contract</a:t>
              </a:r>
              <a:r>
                <a:rPr lang="pl-PL" sz="600" kern="0" dirty="0">
                  <a:latin typeface="+mj-lt"/>
                </a:rPr>
                <a:t> and </a:t>
              </a:r>
              <a:r>
                <a:rPr lang="pl-PL" sz="600" kern="0" dirty="0" err="1">
                  <a:latin typeface="+mj-lt"/>
                </a:rPr>
                <a:t>prices</a:t>
              </a:r>
              <a:r>
                <a:rPr lang="pl-PL" sz="600" kern="0" dirty="0">
                  <a:latin typeface="+mj-lt"/>
                </a:rPr>
                <a:t> with </a:t>
              </a:r>
              <a:r>
                <a:rPr lang="pl-PL" sz="600" kern="0" dirty="0" err="1">
                  <a:latin typeface="+mj-lt"/>
                </a:rPr>
                <a:t>Vendor</a:t>
              </a:r>
              <a:endParaRPr lang="en-US" sz="600" kern="0" dirty="0">
                <a:latin typeface="+mj-lt"/>
              </a:endParaRPr>
            </a:p>
          </p:txBody>
        </p:sp>
        <p:sp>
          <p:nvSpPr>
            <p:cNvPr id="41" name="Rechteck 53">
              <a:extLst>
                <a:ext uri="{FF2B5EF4-FFF2-40B4-BE49-F238E27FC236}">
                  <a16:creationId xmlns:a16="http://schemas.microsoft.com/office/drawing/2014/main" id="{CF2783A8-69A4-750F-E1DB-5026C1189609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cxnSp>
        <p:nvCxnSpPr>
          <p:cNvPr id="48" name="Gerade Verbindung 3">
            <a:extLst>
              <a:ext uri="{FF2B5EF4-FFF2-40B4-BE49-F238E27FC236}">
                <a16:creationId xmlns:a16="http://schemas.microsoft.com/office/drawing/2014/main" id="{836F0705-C49B-9E28-BFDF-DAB0935BBDFC}"/>
              </a:ext>
            </a:extLst>
          </p:cNvPr>
          <p:cNvCxnSpPr>
            <a:cxnSpLocks/>
          </p:cNvCxnSpPr>
          <p:nvPr/>
        </p:nvCxnSpPr>
        <p:spPr bwMode="gray">
          <a:xfrm flipH="1">
            <a:off x="4270151" y="3056069"/>
            <a:ext cx="4657" cy="1783945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grpSp>
        <p:nvGrpSpPr>
          <p:cNvPr id="79" name="Group 24">
            <a:extLst>
              <a:ext uri="{FF2B5EF4-FFF2-40B4-BE49-F238E27FC236}">
                <a16:creationId xmlns:a16="http://schemas.microsoft.com/office/drawing/2014/main" id="{1B4D0F11-B6E3-24E0-1DEF-061DF02EFA09}"/>
              </a:ext>
            </a:extLst>
          </p:cNvPr>
          <p:cNvGrpSpPr/>
          <p:nvPr/>
        </p:nvGrpSpPr>
        <p:grpSpPr>
          <a:xfrm>
            <a:off x="1085292" y="3213454"/>
            <a:ext cx="1662518" cy="961830"/>
            <a:chOff x="5819520" y="2458346"/>
            <a:chExt cx="3652328" cy="2912689"/>
          </a:xfrm>
        </p:grpSpPr>
        <p:sp>
          <p:nvSpPr>
            <p:cNvPr id="80" name="Rounded Rectangle 23">
              <a:extLst>
                <a:ext uri="{FF2B5EF4-FFF2-40B4-BE49-F238E27FC236}">
                  <a16:creationId xmlns:a16="http://schemas.microsoft.com/office/drawing/2014/main" id="{AFEED707-B9F5-A560-D1FD-D4BF05C3A5E2}"/>
                </a:ext>
              </a:extLst>
            </p:cNvPr>
            <p:cNvSpPr/>
            <p:nvPr/>
          </p:nvSpPr>
          <p:spPr>
            <a:xfrm>
              <a:off x="7274350" y="3696597"/>
              <a:ext cx="2197498" cy="1674438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pl-PL" sz="600" kern="0" dirty="0">
                  <a:latin typeface="+mj-lt"/>
                </a:rPr>
                <a:t>Start of the </a:t>
              </a:r>
              <a:r>
                <a:rPr lang="en-US" sz="600" kern="0" dirty="0">
                  <a:latin typeface="+mj-lt"/>
                </a:rPr>
                <a:t>letter of intent with the Supplier</a:t>
              </a:r>
              <a:r>
                <a:rPr lang="pl-PL" sz="600" kern="0" dirty="0">
                  <a:latin typeface="+mj-lt"/>
                </a:rPr>
                <a:t> </a:t>
              </a:r>
            </a:p>
            <a:p>
              <a:pPr algn="ctr" defTabSz="685443">
                <a:defRPr/>
              </a:pPr>
              <a:r>
                <a:rPr lang="pl-PL" sz="600" kern="0" dirty="0">
                  <a:latin typeface="+mj-lt"/>
                </a:rPr>
                <a:t>(</a:t>
              </a:r>
              <a:r>
                <a:rPr lang="en-US" sz="600" kern="0" dirty="0">
                  <a:latin typeface="+mj-lt"/>
                </a:rPr>
                <a:t>maximum signing deadline: February 20</a:t>
              </a:r>
              <a:r>
                <a:rPr lang="pl-PL" sz="600" kern="0" dirty="0">
                  <a:latin typeface="+mj-lt"/>
                </a:rPr>
                <a:t>th</a:t>
              </a:r>
              <a:r>
                <a:rPr lang="en-US" sz="600" kern="0" dirty="0">
                  <a:latin typeface="+mj-lt"/>
                </a:rPr>
                <a:t>)</a:t>
              </a:r>
            </a:p>
          </p:txBody>
        </p:sp>
        <p:sp>
          <p:nvSpPr>
            <p:cNvPr id="81" name="Rechteck 53">
              <a:extLst>
                <a:ext uri="{FF2B5EF4-FFF2-40B4-BE49-F238E27FC236}">
                  <a16:creationId xmlns:a16="http://schemas.microsoft.com/office/drawing/2014/main" id="{0A33E9D4-A71D-B87A-5F26-6DDF4CB0C983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44" name="Group 24">
            <a:extLst>
              <a:ext uri="{FF2B5EF4-FFF2-40B4-BE49-F238E27FC236}">
                <a16:creationId xmlns:a16="http://schemas.microsoft.com/office/drawing/2014/main" id="{5435682A-0288-7D01-4B37-14D3A6891135}"/>
              </a:ext>
            </a:extLst>
          </p:cNvPr>
          <p:cNvGrpSpPr/>
          <p:nvPr/>
        </p:nvGrpSpPr>
        <p:grpSpPr>
          <a:xfrm>
            <a:off x="2182563" y="1616327"/>
            <a:ext cx="565612" cy="249042"/>
            <a:chOff x="5774421" y="1932826"/>
            <a:chExt cx="1351240" cy="2212434"/>
          </a:xfrm>
        </p:grpSpPr>
        <p:sp>
          <p:nvSpPr>
            <p:cNvPr id="45" name="Rounded Rectangle 23">
              <a:extLst>
                <a:ext uri="{FF2B5EF4-FFF2-40B4-BE49-F238E27FC236}">
                  <a16:creationId xmlns:a16="http://schemas.microsoft.com/office/drawing/2014/main" id="{E28E5E01-EABE-9F94-EC49-0983042ACE58}"/>
                </a:ext>
              </a:extLst>
            </p:cNvPr>
            <p:cNvSpPr/>
            <p:nvPr/>
          </p:nvSpPr>
          <p:spPr>
            <a:xfrm>
              <a:off x="5774421" y="1932826"/>
              <a:ext cx="1351240" cy="221243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pl-PL" sz="600" b="1" kern="0" dirty="0">
                  <a:latin typeface="+mj-lt"/>
                </a:rPr>
                <a:t>CISI</a:t>
              </a:r>
              <a:endParaRPr lang="en-US" sz="600" b="1" kern="0" dirty="0">
                <a:latin typeface="+mj-lt"/>
              </a:endParaRPr>
            </a:p>
          </p:txBody>
        </p:sp>
        <p:sp>
          <p:nvSpPr>
            <p:cNvPr id="46" name="Rechteck 53">
              <a:extLst>
                <a:ext uri="{FF2B5EF4-FFF2-40B4-BE49-F238E27FC236}">
                  <a16:creationId xmlns:a16="http://schemas.microsoft.com/office/drawing/2014/main" id="{E204AF60-467F-AE41-F3C1-3E9D85679ED4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47" name="Text Box 49">
            <a:extLst>
              <a:ext uri="{FF2B5EF4-FFF2-40B4-BE49-F238E27FC236}">
                <a16:creationId xmlns:a16="http://schemas.microsoft.com/office/drawing/2014/main" id="{052CFCAB-0398-3250-93A3-CFE66EDC6F1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208617" y="1541503"/>
            <a:ext cx="477203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96CA12"/>
                </a:solidFill>
                <a:latin typeface="Calibri"/>
              </a:rPr>
              <a:t>DONE</a:t>
            </a:r>
            <a:endParaRPr lang="en-GB" sz="800" b="1" kern="0" dirty="0">
              <a:solidFill>
                <a:srgbClr val="96CA12"/>
              </a:solidFill>
              <a:latin typeface="Calibri"/>
            </a:endParaRPr>
          </a:p>
        </p:txBody>
      </p:sp>
      <p:cxnSp>
        <p:nvCxnSpPr>
          <p:cNvPr id="61" name="Gerade Verbindung 3">
            <a:extLst>
              <a:ext uri="{FF2B5EF4-FFF2-40B4-BE49-F238E27FC236}">
                <a16:creationId xmlns:a16="http://schemas.microsoft.com/office/drawing/2014/main" id="{35A211F2-398C-34E6-258C-472F21024B71}"/>
              </a:ext>
            </a:extLst>
          </p:cNvPr>
          <p:cNvCxnSpPr>
            <a:cxnSpLocks/>
          </p:cNvCxnSpPr>
          <p:nvPr/>
        </p:nvCxnSpPr>
        <p:spPr bwMode="gray">
          <a:xfrm flipV="1">
            <a:off x="3686415" y="2023171"/>
            <a:ext cx="0" cy="277819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sp>
        <p:nvSpPr>
          <p:cNvPr id="76" name="Text Box 49">
            <a:extLst>
              <a:ext uri="{FF2B5EF4-FFF2-40B4-BE49-F238E27FC236}">
                <a16:creationId xmlns:a16="http://schemas.microsoft.com/office/drawing/2014/main" id="{4B09A912-7028-0D3F-20D0-868D141801F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82518" y="3512093"/>
            <a:ext cx="537390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96CA12"/>
                </a:solidFill>
                <a:latin typeface="Calibri"/>
              </a:rPr>
              <a:t>DONE</a:t>
            </a:r>
            <a:endParaRPr lang="en-GB" sz="800" b="1" kern="0" dirty="0">
              <a:solidFill>
                <a:srgbClr val="96CA12"/>
              </a:solidFill>
              <a:latin typeface="Calibri"/>
            </a:endParaRPr>
          </a:p>
        </p:txBody>
      </p:sp>
      <p:cxnSp>
        <p:nvCxnSpPr>
          <p:cNvPr id="88" name="Łącznik prosty 87">
            <a:extLst>
              <a:ext uri="{FF2B5EF4-FFF2-40B4-BE49-F238E27FC236}">
                <a16:creationId xmlns:a16="http://schemas.microsoft.com/office/drawing/2014/main" id="{26240258-EDF6-9E4C-7295-E6BAED60D08D}"/>
              </a:ext>
            </a:extLst>
          </p:cNvPr>
          <p:cNvCxnSpPr>
            <a:cxnSpLocks/>
          </p:cNvCxnSpPr>
          <p:nvPr/>
        </p:nvCxnSpPr>
        <p:spPr>
          <a:xfrm>
            <a:off x="4583927" y="1849886"/>
            <a:ext cx="4185" cy="2619727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Gerade Verbindung 3">
            <a:extLst>
              <a:ext uri="{FF2B5EF4-FFF2-40B4-BE49-F238E27FC236}">
                <a16:creationId xmlns:a16="http://schemas.microsoft.com/office/drawing/2014/main" id="{455DAA8F-762F-03D1-84F6-A33A21318A01}"/>
              </a:ext>
            </a:extLst>
          </p:cNvPr>
          <p:cNvCxnSpPr>
            <a:cxnSpLocks/>
            <a:endCxn id="17" idx="1"/>
          </p:cNvCxnSpPr>
          <p:nvPr/>
        </p:nvCxnSpPr>
        <p:spPr bwMode="gray">
          <a:xfrm flipH="1" flipV="1">
            <a:off x="3029082" y="1673182"/>
            <a:ext cx="11861" cy="610722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cxnSp>
        <p:nvCxnSpPr>
          <p:cNvPr id="118" name="Gerade Verbindung 3">
            <a:extLst>
              <a:ext uri="{FF2B5EF4-FFF2-40B4-BE49-F238E27FC236}">
                <a16:creationId xmlns:a16="http://schemas.microsoft.com/office/drawing/2014/main" id="{884ECBC5-609C-70DE-A59E-A18DFC774932}"/>
              </a:ext>
            </a:extLst>
          </p:cNvPr>
          <p:cNvCxnSpPr>
            <a:cxnSpLocks/>
          </p:cNvCxnSpPr>
          <p:nvPr/>
        </p:nvCxnSpPr>
        <p:spPr bwMode="gray">
          <a:xfrm>
            <a:off x="3826134" y="3008713"/>
            <a:ext cx="0" cy="309663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sp>
        <p:nvSpPr>
          <p:cNvPr id="131" name="Rechteck 53">
            <a:extLst>
              <a:ext uri="{FF2B5EF4-FFF2-40B4-BE49-F238E27FC236}">
                <a16:creationId xmlns:a16="http://schemas.microsoft.com/office/drawing/2014/main" id="{A8567CE0-C503-CDC9-4375-51EDFBD0EF65}"/>
              </a:ext>
            </a:extLst>
          </p:cNvPr>
          <p:cNvSpPr/>
          <p:nvPr/>
        </p:nvSpPr>
        <p:spPr>
          <a:xfrm>
            <a:off x="2796121" y="4189813"/>
            <a:ext cx="669646" cy="12674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algn="ctr" defTabSz="685443">
              <a:lnSpc>
                <a:spcPts val="600"/>
              </a:lnSpc>
              <a:defRPr/>
            </a:pPr>
            <a:endParaRPr lang="en-US" sz="800" kern="0" noProof="1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55" name="Gerade Verbindung 3">
            <a:extLst>
              <a:ext uri="{FF2B5EF4-FFF2-40B4-BE49-F238E27FC236}">
                <a16:creationId xmlns:a16="http://schemas.microsoft.com/office/drawing/2014/main" id="{73F52097-6995-8BF5-7CFD-1F67B4B43781}"/>
              </a:ext>
            </a:extLst>
          </p:cNvPr>
          <p:cNvCxnSpPr>
            <a:cxnSpLocks/>
          </p:cNvCxnSpPr>
          <p:nvPr/>
        </p:nvCxnSpPr>
        <p:spPr bwMode="gray">
          <a:xfrm flipH="1">
            <a:off x="6300331" y="3057261"/>
            <a:ext cx="6185" cy="433629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grpSp>
        <p:nvGrpSpPr>
          <p:cNvPr id="156" name="Group 24">
            <a:extLst>
              <a:ext uri="{FF2B5EF4-FFF2-40B4-BE49-F238E27FC236}">
                <a16:creationId xmlns:a16="http://schemas.microsoft.com/office/drawing/2014/main" id="{368FFAAC-8CAB-125D-0EF3-7B57656893D9}"/>
              </a:ext>
            </a:extLst>
          </p:cNvPr>
          <p:cNvGrpSpPr/>
          <p:nvPr/>
        </p:nvGrpSpPr>
        <p:grpSpPr>
          <a:xfrm>
            <a:off x="6001667" y="3307594"/>
            <a:ext cx="1102921" cy="358696"/>
            <a:chOff x="5774421" y="1932826"/>
            <a:chExt cx="1310080" cy="2212434"/>
          </a:xfrm>
        </p:grpSpPr>
        <p:sp>
          <p:nvSpPr>
            <p:cNvPr id="157" name="Rounded Rectangle 23">
              <a:extLst>
                <a:ext uri="{FF2B5EF4-FFF2-40B4-BE49-F238E27FC236}">
                  <a16:creationId xmlns:a16="http://schemas.microsoft.com/office/drawing/2014/main" id="{9393E4DA-317D-1277-EE6D-14A5EE49B7B3}"/>
                </a:ext>
              </a:extLst>
            </p:cNvPr>
            <p:cNvSpPr/>
            <p:nvPr/>
          </p:nvSpPr>
          <p:spPr>
            <a:xfrm>
              <a:off x="5774421" y="1932826"/>
              <a:ext cx="1192106" cy="221243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pl-PL" sz="600" kern="0" dirty="0">
                  <a:latin typeface="+mj-lt"/>
                </a:rPr>
                <a:t>I</a:t>
              </a:r>
              <a:r>
                <a:rPr lang="en-US" sz="600" kern="0" dirty="0" err="1">
                  <a:latin typeface="+mj-lt"/>
                </a:rPr>
                <a:t>ssuing</a:t>
              </a:r>
              <a:r>
                <a:rPr lang="en-US" sz="600" kern="0" dirty="0">
                  <a:latin typeface="+mj-lt"/>
                </a:rPr>
                <a:t> the initial IT infrastructure</a:t>
              </a:r>
            </a:p>
          </p:txBody>
        </p:sp>
        <p:sp>
          <p:nvSpPr>
            <p:cNvPr id="158" name="Rechteck 53">
              <a:extLst>
                <a:ext uri="{FF2B5EF4-FFF2-40B4-BE49-F238E27FC236}">
                  <a16:creationId xmlns:a16="http://schemas.microsoft.com/office/drawing/2014/main" id="{8A53EB2B-B6C3-8725-49B5-180513F1F0E8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159" name="Text Box 49">
            <a:extLst>
              <a:ext uri="{FF2B5EF4-FFF2-40B4-BE49-F238E27FC236}">
                <a16:creationId xmlns:a16="http://schemas.microsoft.com/office/drawing/2014/main" id="{DB525131-94FD-F76B-6774-84DD8DC3125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016724" y="3256820"/>
            <a:ext cx="477203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00B0F0"/>
                </a:solidFill>
                <a:latin typeface="Calibri"/>
              </a:rPr>
              <a:t>30.03</a:t>
            </a:r>
            <a:endParaRPr lang="en-GB" sz="800" b="1" kern="0" dirty="0">
              <a:solidFill>
                <a:srgbClr val="00B0F0"/>
              </a:solidFill>
              <a:latin typeface="Calibri"/>
            </a:endParaRPr>
          </a:p>
        </p:txBody>
      </p:sp>
      <p:sp>
        <p:nvSpPr>
          <p:cNvPr id="163" name="Rechteck 53">
            <a:extLst>
              <a:ext uri="{FF2B5EF4-FFF2-40B4-BE49-F238E27FC236}">
                <a16:creationId xmlns:a16="http://schemas.microsoft.com/office/drawing/2014/main" id="{E8470984-157F-FFC2-DE62-48496AE41018}"/>
              </a:ext>
            </a:extLst>
          </p:cNvPr>
          <p:cNvSpPr/>
          <p:nvPr/>
        </p:nvSpPr>
        <p:spPr>
          <a:xfrm>
            <a:off x="5257421" y="3213454"/>
            <a:ext cx="1064953" cy="575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algn="ctr" defTabSz="685443">
              <a:lnSpc>
                <a:spcPts val="600"/>
              </a:lnSpc>
              <a:defRPr/>
            </a:pPr>
            <a:endParaRPr lang="en-US" sz="800" kern="0" noProof="1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73" name="Gerade Verbindung 3">
            <a:extLst>
              <a:ext uri="{FF2B5EF4-FFF2-40B4-BE49-F238E27FC236}">
                <a16:creationId xmlns:a16="http://schemas.microsoft.com/office/drawing/2014/main" id="{9C3917D7-EE6D-4895-6432-73C6B8B4D3F3}"/>
              </a:ext>
            </a:extLst>
          </p:cNvPr>
          <p:cNvCxnSpPr>
            <a:cxnSpLocks/>
          </p:cNvCxnSpPr>
          <p:nvPr/>
        </p:nvCxnSpPr>
        <p:spPr bwMode="gray">
          <a:xfrm>
            <a:off x="4849039" y="3028224"/>
            <a:ext cx="0" cy="351707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grpSp>
        <p:nvGrpSpPr>
          <p:cNvPr id="174" name="Group 24">
            <a:extLst>
              <a:ext uri="{FF2B5EF4-FFF2-40B4-BE49-F238E27FC236}">
                <a16:creationId xmlns:a16="http://schemas.microsoft.com/office/drawing/2014/main" id="{846409AE-7E88-71A5-9A4E-32F7350F398E}"/>
              </a:ext>
            </a:extLst>
          </p:cNvPr>
          <p:cNvGrpSpPr/>
          <p:nvPr/>
        </p:nvGrpSpPr>
        <p:grpSpPr>
          <a:xfrm>
            <a:off x="5689502" y="3764651"/>
            <a:ext cx="1464296" cy="397044"/>
            <a:chOff x="5774421" y="1932820"/>
            <a:chExt cx="1739331" cy="2448964"/>
          </a:xfrm>
        </p:grpSpPr>
        <p:sp>
          <p:nvSpPr>
            <p:cNvPr id="175" name="Rounded Rectangle 23">
              <a:extLst>
                <a:ext uri="{FF2B5EF4-FFF2-40B4-BE49-F238E27FC236}">
                  <a16:creationId xmlns:a16="http://schemas.microsoft.com/office/drawing/2014/main" id="{75DF1A6D-4E80-5EDE-6DE5-DBDA2B3D8475}"/>
                </a:ext>
              </a:extLst>
            </p:cNvPr>
            <p:cNvSpPr/>
            <p:nvPr/>
          </p:nvSpPr>
          <p:spPr>
            <a:xfrm>
              <a:off x="5774421" y="1932820"/>
              <a:ext cx="1739331" cy="244896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en-US" sz="600" kern="0" dirty="0">
                  <a:latin typeface="+mj-lt"/>
                </a:rPr>
                <a:t>Agreeing on the architecture, hardware and software requirements, and agreeing on the installation plan</a:t>
              </a:r>
            </a:p>
          </p:txBody>
        </p:sp>
        <p:sp>
          <p:nvSpPr>
            <p:cNvPr id="176" name="Rechteck 53">
              <a:extLst>
                <a:ext uri="{FF2B5EF4-FFF2-40B4-BE49-F238E27FC236}">
                  <a16:creationId xmlns:a16="http://schemas.microsoft.com/office/drawing/2014/main" id="{7C73B3BE-0DA7-6F3E-7E61-BCA667A940BC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177" name="Text Box 49">
            <a:extLst>
              <a:ext uri="{FF2B5EF4-FFF2-40B4-BE49-F238E27FC236}">
                <a16:creationId xmlns:a16="http://schemas.microsoft.com/office/drawing/2014/main" id="{E62CC814-9E41-097E-9AEA-7735F85C771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698012" y="3712243"/>
            <a:ext cx="477203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00B0F0"/>
                </a:solidFill>
                <a:latin typeface="Calibri"/>
              </a:rPr>
              <a:t>25.03</a:t>
            </a:r>
            <a:endParaRPr lang="en-GB" sz="800" b="1" kern="0" dirty="0">
              <a:solidFill>
                <a:srgbClr val="00B0F0"/>
              </a:solidFill>
              <a:latin typeface="Calibri"/>
            </a:endParaRPr>
          </a:p>
        </p:txBody>
      </p:sp>
      <p:cxnSp>
        <p:nvCxnSpPr>
          <p:cNvPr id="181" name="Gerade Verbindung 3">
            <a:extLst>
              <a:ext uri="{FF2B5EF4-FFF2-40B4-BE49-F238E27FC236}">
                <a16:creationId xmlns:a16="http://schemas.microsoft.com/office/drawing/2014/main" id="{30C0F852-2F65-6E36-A36D-49FCB477B2D8}"/>
              </a:ext>
            </a:extLst>
          </p:cNvPr>
          <p:cNvCxnSpPr>
            <a:cxnSpLocks/>
          </p:cNvCxnSpPr>
          <p:nvPr/>
        </p:nvCxnSpPr>
        <p:spPr bwMode="gray">
          <a:xfrm>
            <a:off x="5163231" y="3050439"/>
            <a:ext cx="10418" cy="1387943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grpSp>
        <p:nvGrpSpPr>
          <p:cNvPr id="182" name="Group 24">
            <a:extLst>
              <a:ext uri="{FF2B5EF4-FFF2-40B4-BE49-F238E27FC236}">
                <a16:creationId xmlns:a16="http://schemas.microsoft.com/office/drawing/2014/main" id="{DAD317B5-A1B6-49F0-63AD-2389115BC969}"/>
              </a:ext>
            </a:extLst>
          </p:cNvPr>
          <p:cNvGrpSpPr/>
          <p:nvPr/>
        </p:nvGrpSpPr>
        <p:grpSpPr>
          <a:xfrm>
            <a:off x="5155576" y="4268492"/>
            <a:ext cx="750880" cy="397044"/>
            <a:chOff x="5774421" y="1932820"/>
            <a:chExt cx="1739331" cy="2448964"/>
          </a:xfrm>
        </p:grpSpPr>
        <p:sp>
          <p:nvSpPr>
            <p:cNvPr id="183" name="Rounded Rectangle 23">
              <a:extLst>
                <a:ext uri="{FF2B5EF4-FFF2-40B4-BE49-F238E27FC236}">
                  <a16:creationId xmlns:a16="http://schemas.microsoft.com/office/drawing/2014/main" id="{53FE881F-29C0-D306-F136-756976C9C5B8}"/>
                </a:ext>
              </a:extLst>
            </p:cNvPr>
            <p:cNvSpPr/>
            <p:nvPr/>
          </p:nvSpPr>
          <p:spPr>
            <a:xfrm>
              <a:off x="5774421" y="1932820"/>
              <a:ext cx="1739331" cy="244896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en-US" sz="600" b="1" kern="0" dirty="0">
                  <a:latin typeface="+mj-lt"/>
                </a:rPr>
                <a:t>Beginning of detailed analyses</a:t>
              </a:r>
            </a:p>
          </p:txBody>
        </p:sp>
        <p:sp>
          <p:nvSpPr>
            <p:cNvPr id="184" name="Rechteck 53">
              <a:extLst>
                <a:ext uri="{FF2B5EF4-FFF2-40B4-BE49-F238E27FC236}">
                  <a16:creationId xmlns:a16="http://schemas.microsoft.com/office/drawing/2014/main" id="{B38B9F61-4636-C1E7-0DE0-1D570DBC31CC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185" name="Text Box 49">
            <a:extLst>
              <a:ext uri="{FF2B5EF4-FFF2-40B4-BE49-F238E27FC236}">
                <a16:creationId xmlns:a16="http://schemas.microsoft.com/office/drawing/2014/main" id="{CC502FFB-D2C0-B904-0616-B777343526D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76720" y="4177619"/>
            <a:ext cx="477203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00B0F0"/>
                </a:solidFill>
                <a:latin typeface="Calibri"/>
              </a:rPr>
              <a:t>16.03</a:t>
            </a:r>
            <a:endParaRPr lang="en-GB" sz="800" b="1" kern="0" dirty="0">
              <a:solidFill>
                <a:srgbClr val="00B0F0"/>
              </a:solidFill>
              <a:latin typeface="Calibri"/>
            </a:endParaRPr>
          </a:p>
        </p:txBody>
      </p:sp>
      <p:sp>
        <p:nvSpPr>
          <p:cNvPr id="191" name="Rechteck 53">
            <a:extLst>
              <a:ext uri="{FF2B5EF4-FFF2-40B4-BE49-F238E27FC236}">
                <a16:creationId xmlns:a16="http://schemas.microsoft.com/office/drawing/2014/main" id="{62BBAE09-5F66-8F84-412A-A256E854F6E2}"/>
              </a:ext>
            </a:extLst>
          </p:cNvPr>
          <p:cNvSpPr/>
          <p:nvPr/>
        </p:nvSpPr>
        <p:spPr>
          <a:xfrm>
            <a:off x="4097626" y="3623832"/>
            <a:ext cx="546100" cy="575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algn="ctr" defTabSz="685443">
              <a:lnSpc>
                <a:spcPts val="600"/>
              </a:lnSpc>
              <a:defRPr/>
            </a:pPr>
            <a:endParaRPr lang="en-US" sz="800" kern="0" noProof="1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92" name="Gerade Verbindung 3">
            <a:extLst>
              <a:ext uri="{FF2B5EF4-FFF2-40B4-BE49-F238E27FC236}">
                <a16:creationId xmlns:a16="http://schemas.microsoft.com/office/drawing/2014/main" id="{7E66AFDB-B7AF-9483-7D7F-F5A5AC01C729}"/>
              </a:ext>
            </a:extLst>
          </p:cNvPr>
          <p:cNvCxnSpPr>
            <a:cxnSpLocks/>
          </p:cNvCxnSpPr>
          <p:nvPr/>
        </p:nvCxnSpPr>
        <p:spPr bwMode="gray">
          <a:xfrm>
            <a:off x="5743512" y="3062118"/>
            <a:ext cx="11346" cy="635626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sp>
        <p:nvSpPr>
          <p:cNvPr id="28" name="Rounded Rectangle 23">
            <a:extLst>
              <a:ext uri="{FF2B5EF4-FFF2-40B4-BE49-F238E27FC236}">
                <a16:creationId xmlns:a16="http://schemas.microsoft.com/office/drawing/2014/main" id="{D31A7388-4CFA-AEB1-F842-73548ACBCD26}"/>
              </a:ext>
            </a:extLst>
          </p:cNvPr>
          <p:cNvSpPr/>
          <p:nvPr/>
        </p:nvSpPr>
        <p:spPr>
          <a:xfrm>
            <a:off x="4595319" y="3303132"/>
            <a:ext cx="1003602" cy="358696"/>
          </a:xfrm>
          <a:prstGeom prst="roundRect">
            <a:avLst>
              <a:gd name="adj" fmla="val 5384"/>
            </a:avLst>
          </a:prstGeom>
          <a:solidFill>
            <a:srgbClr val="FFFFFF"/>
          </a:solidFill>
          <a:ln w="6350" cap="flat" cmpd="sng" algn="ctr">
            <a:solidFill>
              <a:srgbClr val="2A729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443">
              <a:defRPr/>
            </a:pPr>
            <a:r>
              <a:rPr lang="pl-PL" sz="600" kern="0" dirty="0">
                <a:latin typeface="+mj-lt"/>
              </a:rPr>
              <a:t>S</a:t>
            </a:r>
            <a:r>
              <a:rPr lang="en-US" sz="600" kern="0" dirty="0">
                <a:latin typeface="+mj-lt"/>
              </a:rPr>
              <a:t>tarting supplier onboarding (access, network traffic, VM)</a:t>
            </a:r>
          </a:p>
        </p:txBody>
      </p:sp>
      <p:sp>
        <p:nvSpPr>
          <p:cNvPr id="29" name="Text Box 49">
            <a:extLst>
              <a:ext uri="{FF2B5EF4-FFF2-40B4-BE49-F238E27FC236}">
                <a16:creationId xmlns:a16="http://schemas.microsoft.com/office/drawing/2014/main" id="{5A7B3655-5ACE-B895-9953-7DFBFD16FD2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648499" y="3236230"/>
            <a:ext cx="477203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00B0F0"/>
                </a:solidFill>
                <a:latin typeface="Calibri"/>
              </a:rPr>
              <a:t>10.03</a:t>
            </a:r>
            <a:endParaRPr lang="en-GB" sz="800" b="1" kern="0" dirty="0">
              <a:solidFill>
                <a:srgbClr val="00B0F0"/>
              </a:solidFill>
              <a:latin typeface="Calibri"/>
            </a:endParaRPr>
          </a:p>
        </p:txBody>
      </p:sp>
      <p:cxnSp>
        <p:nvCxnSpPr>
          <p:cNvPr id="52" name="Gerade Verbindung 3">
            <a:extLst>
              <a:ext uri="{FF2B5EF4-FFF2-40B4-BE49-F238E27FC236}">
                <a16:creationId xmlns:a16="http://schemas.microsoft.com/office/drawing/2014/main" id="{AFAF33E2-86ED-3131-B8F3-833B105648E3}"/>
              </a:ext>
            </a:extLst>
          </p:cNvPr>
          <p:cNvCxnSpPr>
            <a:cxnSpLocks/>
          </p:cNvCxnSpPr>
          <p:nvPr/>
        </p:nvCxnSpPr>
        <p:spPr bwMode="gray">
          <a:xfrm flipV="1">
            <a:off x="5722268" y="1875673"/>
            <a:ext cx="0" cy="604292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grpSp>
        <p:nvGrpSpPr>
          <p:cNvPr id="59" name="Group 24">
            <a:extLst>
              <a:ext uri="{FF2B5EF4-FFF2-40B4-BE49-F238E27FC236}">
                <a16:creationId xmlns:a16="http://schemas.microsoft.com/office/drawing/2014/main" id="{4C39CB4B-5713-9D87-F85A-D1175340BA1E}"/>
              </a:ext>
            </a:extLst>
          </p:cNvPr>
          <p:cNvGrpSpPr/>
          <p:nvPr/>
        </p:nvGrpSpPr>
        <p:grpSpPr>
          <a:xfrm>
            <a:off x="4976720" y="1789039"/>
            <a:ext cx="1833837" cy="438423"/>
            <a:chOff x="5311522" y="2458346"/>
            <a:chExt cx="1772979" cy="3034730"/>
          </a:xfrm>
        </p:grpSpPr>
        <p:sp>
          <p:nvSpPr>
            <p:cNvPr id="60" name="Rounded Rectangle 23">
              <a:extLst>
                <a:ext uri="{FF2B5EF4-FFF2-40B4-BE49-F238E27FC236}">
                  <a16:creationId xmlns:a16="http://schemas.microsoft.com/office/drawing/2014/main" id="{358259A5-6013-6267-06A3-068CE8F08186}"/>
                </a:ext>
              </a:extLst>
            </p:cNvPr>
            <p:cNvSpPr/>
            <p:nvPr/>
          </p:nvSpPr>
          <p:spPr>
            <a:xfrm>
              <a:off x="5311522" y="3280642"/>
              <a:ext cx="1351240" cy="221243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pl-PL" sz="600" kern="0" dirty="0" err="1">
                  <a:latin typeface="+mj-lt"/>
                </a:rPr>
                <a:t>Workshops</a:t>
              </a:r>
              <a:r>
                <a:rPr lang="pl-PL" sz="600" kern="0" dirty="0">
                  <a:latin typeface="+mj-lt"/>
                </a:rPr>
                <a:t> with Central IT and </a:t>
              </a:r>
              <a:r>
                <a:rPr lang="pl-PL" sz="600" kern="0" dirty="0" err="1">
                  <a:latin typeface="+mj-lt"/>
                </a:rPr>
                <a:t>Tribe</a:t>
              </a:r>
              <a:r>
                <a:rPr lang="pl-PL" sz="600" kern="0" dirty="0">
                  <a:latin typeface="+mj-lt"/>
                </a:rPr>
                <a:t> </a:t>
              </a:r>
              <a:r>
                <a:rPr lang="pl-PL" sz="600" kern="0" dirty="0" err="1">
                  <a:latin typeface="+mj-lt"/>
                </a:rPr>
                <a:t>Teams</a:t>
              </a:r>
              <a:r>
                <a:rPr lang="pl-PL" sz="600" kern="0" dirty="0">
                  <a:latin typeface="+mj-lt"/>
                </a:rPr>
                <a:t> (post QBR)</a:t>
              </a:r>
              <a:endParaRPr lang="en-US" sz="600" kern="0" dirty="0">
                <a:latin typeface="+mj-lt"/>
              </a:endParaRPr>
            </a:p>
          </p:txBody>
        </p:sp>
        <p:sp>
          <p:nvSpPr>
            <p:cNvPr id="62" name="Rechteck 53">
              <a:extLst>
                <a:ext uri="{FF2B5EF4-FFF2-40B4-BE49-F238E27FC236}">
                  <a16:creationId xmlns:a16="http://schemas.microsoft.com/office/drawing/2014/main" id="{F285C72C-30B8-F3DA-3AE8-887DA76B8F6F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63" name="Text Box 49">
            <a:extLst>
              <a:ext uri="{FF2B5EF4-FFF2-40B4-BE49-F238E27FC236}">
                <a16:creationId xmlns:a16="http://schemas.microsoft.com/office/drawing/2014/main" id="{9BD280B4-4B06-52F0-F625-EB646DFF7AA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70746" y="1802628"/>
            <a:ext cx="745337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96CA12"/>
                </a:solidFill>
                <a:latin typeface="Calibri"/>
              </a:rPr>
              <a:t>16.03-31.03</a:t>
            </a:r>
            <a:endParaRPr lang="en-GB" sz="800" b="1" kern="0" dirty="0">
              <a:solidFill>
                <a:srgbClr val="96CA12"/>
              </a:solidFill>
              <a:latin typeface="Calibri"/>
            </a:endParaRPr>
          </a:p>
        </p:txBody>
      </p:sp>
      <p:cxnSp>
        <p:nvCxnSpPr>
          <p:cNvPr id="64" name="Łącznik prosty 63">
            <a:extLst>
              <a:ext uri="{FF2B5EF4-FFF2-40B4-BE49-F238E27FC236}">
                <a16:creationId xmlns:a16="http://schemas.microsoft.com/office/drawing/2014/main" id="{66059E25-25CD-8903-0C70-F0AE9261566A}"/>
              </a:ext>
            </a:extLst>
          </p:cNvPr>
          <p:cNvCxnSpPr>
            <a:cxnSpLocks/>
          </p:cNvCxnSpPr>
          <p:nvPr/>
        </p:nvCxnSpPr>
        <p:spPr>
          <a:xfrm flipH="1">
            <a:off x="6553128" y="1750079"/>
            <a:ext cx="13553" cy="2807962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ounded Rectangle 23">
            <a:extLst>
              <a:ext uri="{FF2B5EF4-FFF2-40B4-BE49-F238E27FC236}">
                <a16:creationId xmlns:a16="http://schemas.microsoft.com/office/drawing/2014/main" id="{2A831D75-3CBF-D478-B557-5B35599648F9}"/>
              </a:ext>
            </a:extLst>
          </p:cNvPr>
          <p:cNvSpPr/>
          <p:nvPr/>
        </p:nvSpPr>
        <p:spPr>
          <a:xfrm>
            <a:off x="5777084" y="1263142"/>
            <a:ext cx="1346137" cy="507518"/>
          </a:xfrm>
          <a:prstGeom prst="roundRect">
            <a:avLst>
              <a:gd name="adj" fmla="val 5384"/>
            </a:avLst>
          </a:prstGeom>
          <a:solidFill>
            <a:srgbClr val="FFFFFF"/>
          </a:solidFill>
          <a:ln w="635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443">
              <a:defRPr/>
            </a:pPr>
            <a:r>
              <a:rPr lang="en-US" sz="600" kern="0" dirty="0">
                <a:latin typeface="+mj-lt"/>
              </a:rPr>
              <a:t>Start of </a:t>
            </a:r>
            <a:r>
              <a:rPr lang="pl-PL" sz="600" kern="0" dirty="0" err="1">
                <a:latin typeface="+mj-lt"/>
              </a:rPr>
              <a:t>work</a:t>
            </a:r>
            <a:r>
              <a:rPr lang="en-US" sz="600" kern="0" dirty="0">
                <a:latin typeface="+mj-lt"/>
              </a:rPr>
              <a:t> in individual areas in accordance with</a:t>
            </a:r>
            <a:r>
              <a:rPr lang="pl-PL" sz="600" kern="0" dirty="0">
                <a:latin typeface="+mj-lt"/>
              </a:rPr>
              <a:t> QBR</a:t>
            </a:r>
            <a:endParaRPr lang="en-US" sz="600" kern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6" name="Text Box 49">
            <a:extLst>
              <a:ext uri="{FF2B5EF4-FFF2-40B4-BE49-F238E27FC236}">
                <a16:creationId xmlns:a16="http://schemas.microsoft.com/office/drawing/2014/main" id="{7FF2C961-CCCB-3557-4A44-1A4A024B196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933660" y="1199969"/>
            <a:ext cx="695938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 err="1">
                <a:solidFill>
                  <a:srgbClr val="FF0000"/>
                </a:solidFill>
                <a:latin typeface="Calibri"/>
              </a:rPr>
              <a:t>April</a:t>
            </a:r>
            <a:r>
              <a:rPr lang="pl-PL" sz="800" b="1" kern="0" dirty="0">
                <a:solidFill>
                  <a:srgbClr val="FF0000"/>
                </a:solidFill>
                <a:latin typeface="Calibri"/>
              </a:rPr>
              <a:t> (TBD)</a:t>
            </a:r>
            <a:endParaRPr lang="en-GB" sz="800" b="1" kern="0" dirty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70" name="Strzałka: w prawo 69">
            <a:extLst>
              <a:ext uri="{FF2B5EF4-FFF2-40B4-BE49-F238E27FC236}">
                <a16:creationId xmlns:a16="http://schemas.microsoft.com/office/drawing/2014/main" id="{3A3E0515-EF02-8801-C15B-EFE1F95DCEAC}"/>
              </a:ext>
            </a:extLst>
          </p:cNvPr>
          <p:cNvSpPr/>
          <p:nvPr/>
        </p:nvSpPr>
        <p:spPr>
          <a:xfrm>
            <a:off x="6584176" y="1969051"/>
            <a:ext cx="1219593" cy="224145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/>
              <a:t>ANALYSE + DEV</a:t>
            </a:r>
          </a:p>
        </p:txBody>
      </p:sp>
      <p:cxnSp>
        <p:nvCxnSpPr>
          <p:cNvPr id="71" name="Gerade Verbindung 3">
            <a:extLst>
              <a:ext uri="{FF2B5EF4-FFF2-40B4-BE49-F238E27FC236}">
                <a16:creationId xmlns:a16="http://schemas.microsoft.com/office/drawing/2014/main" id="{10356568-CD18-4565-9614-967F1E2AA38F}"/>
              </a:ext>
            </a:extLst>
          </p:cNvPr>
          <p:cNvCxnSpPr>
            <a:cxnSpLocks/>
            <a:endCxn id="92" idx="2"/>
          </p:cNvCxnSpPr>
          <p:nvPr/>
        </p:nvCxnSpPr>
        <p:spPr bwMode="gray">
          <a:xfrm flipH="1" flipV="1">
            <a:off x="2892622" y="1277508"/>
            <a:ext cx="16945" cy="1174973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grpSp>
        <p:nvGrpSpPr>
          <p:cNvPr id="74" name="Group 24">
            <a:extLst>
              <a:ext uri="{FF2B5EF4-FFF2-40B4-BE49-F238E27FC236}">
                <a16:creationId xmlns:a16="http://schemas.microsoft.com/office/drawing/2014/main" id="{8C831A69-7ACB-5EF0-D2E1-5AE9CECA781E}"/>
              </a:ext>
            </a:extLst>
          </p:cNvPr>
          <p:cNvGrpSpPr/>
          <p:nvPr/>
        </p:nvGrpSpPr>
        <p:grpSpPr>
          <a:xfrm>
            <a:off x="3390747" y="1768297"/>
            <a:ext cx="1833837" cy="438423"/>
            <a:chOff x="5311522" y="2458346"/>
            <a:chExt cx="1772979" cy="3034730"/>
          </a:xfrm>
        </p:grpSpPr>
        <p:sp>
          <p:nvSpPr>
            <p:cNvPr id="77" name="Rounded Rectangle 23">
              <a:extLst>
                <a:ext uri="{FF2B5EF4-FFF2-40B4-BE49-F238E27FC236}">
                  <a16:creationId xmlns:a16="http://schemas.microsoft.com/office/drawing/2014/main" id="{8DF7D7AD-69C2-665A-3686-0F03EEAB6304}"/>
                </a:ext>
              </a:extLst>
            </p:cNvPr>
            <p:cNvSpPr/>
            <p:nvPr/>
          </p:nvSpPr>
          <p:spPr>
            <a:xfrm>
              <a:off x="5311522" y="3280643"/>
              <a:ext cx="605617" cy="2212433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pl-PL" sz="600" kern="0" dirty="0">
                  <a:latin typeface="+mj-lt"/>
                </a:rPr>
                <a:t>QBR</a:t>
              </a:r>
              <a:endParaRPr lang="en-US" sz="600" kern="0" dirty="0">
                <a:latin typeface="+mj-lt"/>
              </a:endParaRPr>
            </a:p>
          </p:txBody>
        </p:sp>
        <p:sp>
          <p:nvSpPr>
            <p:cNvPr id="78" name="Rechteck 53">
              <a:extLst>
                <a:ext uri="{FF2B5EF4-FFF2-40B4-BE49-F238E27FC236}">
                  <a16:creationId xmlns:a16="http://schemas.microsoft.com/office/drawing/2014/main" id="{BB917806-95BF-86D7-20BF-474ABE0182D7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82" name="Text Box 49">
            <a:extLst>
              <a:ext uri="{FF2B5EF4-FFF2-40B4-BE49-F238E27FC236}">
                <a16:creationId xmlns:a16="http://schemas.microsoft.com/office/drawing/2014/main" id="{AA668460-268F-470A-742F-8FC1E3B667A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413725" y="1849886"/>
            <a:ext cx="524503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96CA12"/>
                </a:solidFill>
                <a:latin typeface="Calibri"/>
              </a:rPr>
              <a:t>DONE</a:t>
            </a:r>
            <a:endParaRPr lang="en-GB" sz="800" b="1" kern="0" dirty="0">
              <a:solidFill>
                <a:srgbClr val="96CA12"/>
              </a:solidFill>
              <a:latin typeface="Calibri"/>
            </a:endParaRPr>
          </a:p>
        </p:txBody>
      </p:sp>
      <p:sp>
        <p:nvSpPr>
          <p:cNvPr id="83" name="Rounded Rectangle 23">
            <a:extLst>
              <a:ext uri="{FF2B5EF4-FFF2-40B4-BE49-F238E27FC236}">
                <a16:creationId xmlns:a16="http://schemas.microsoft.com/office/drawing/2014/main" id="{2FC6E333-C1B7-6215-4C76-7574EC140E70}"/>
              </a:ext>
            </a:extLst>
          </p:cNvPr>
          <p:cNvSpPr/>
          <p:nvPr/>
        </p:nvSpPr>
        <p:spPr>
          <a:xfrm>
            <a:off x="4105225" y="1292198"/>
            <a:ext cx="1346137" cy="507518"/>
          </a:xfrm>
          <a:prstGeom prst="roundRect">
            <a:avLst>
              <a:gd name="adj" fmla="val 5384"/>
            </a:avLst>
          </a:prstGeom>
          <a:solidFill>
            <a:srgbClr val="FFFFFF"/>
          </a:solidFill>
          <a:ln w="635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443">
              <a:defRPr/>
            </a:pPr>
            <a:r>
              <a:rPr lang="pl-PL" sz="600" b="1" kern="0" dirty="0">
                <a:latin typeface="+mj-lt"/>
              </a:rPr>
              <a:t>Start </a:t>
            </a:r>
            <a:r>
              <a:rPr lang="pl-PL" sz="600" b="1" kern="0" dirty="0" err="1">
                <a:latin typeface="+mj-lt"/>
              </a:rPr>
              <a:t>work</a:t>
            </a:r>
            <a:r>
              <a:rPr lang="pl-PL" sz="600" b="1" kern="0" dirty="0">
                <a:latin typeface="+mj-lt"/>
              </a:rPr>
              <a:t> PS</a:t>
            </a:r>
            <a:endParaRPr lang="en-US" sz="600" b="1" kern="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84" name="Text Box 49">
            <a:extLst>
              <a:ext uri="{FF2B5EF4-FFF2-40B4-BE49-F238E27FC236}">
                <a16:creationId xmlns:a16="http://schemas.microsoft.com/office/drawing/2014/main" id="{7794FB64-6280-97A9-586B-CFE480E498D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274808" y="1210776"/>
            <a:ext cx="610056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FF0000"/>
                </a:solidFill>
                <a:latin typeface="Calibri"/>
              </a:rPr>
              <a:t>10.03</a:t>
            </a:r>
            <a:endParaRPr lang="en-GB" sz="800" b="1" kern="0" dirty="0">
              <a:solidFill>
                <a:srgbClr val="FF0000"/>
              </a:solidFill>
              <a:latin typeface="Calibri"/>
            </a:endParaRPr>
          </a:p>
        </p:txBody>
      </p:sp>
      <p:grpSp>
        <p:nvGrpSpPr>
          <p:cNvPr id="90" name="Group 24">
            <a:extLst>
              <a:ext uri="{FF2B5EF4-FFF2-40B4-BE49-F238E27FC236}">
                <a16:creationId xmlns:a16="http://schemas.microsoft.com/office/drawing/2014/main" id="{72A9A6FB-AA7A-650E-ACA3-01402D8EF457}"/>
              </a:ext>
            </a:extLst>
          </p:cNvPr>
          <p:cNvGrpSpPr/>
          <p:nvPr/>
        </p:nvGrpSpPr>
        <p:grpSpPr>
          <a:xfrm>
            <a:off x="2332011" y="836795"/>
            <a:ext cx="1121222" cy="440713"/>
            <a:chOff x="5774419" y="1932826"/>
            <a:chExt cx="1477571" cy="2212434"/>
          </a:xfrm>
        </p:grpSpPr>
        <p:sp>
          <p:nvSpPr>
            <p:cNvPr id="92" name="Rounded Rectangle 23">
              <a:extLst>
                <a:ext uri="{FF2B5EF4-FFF2-40B4-BE49-F238E27FC236}">
                  <a16:creationId xmlns:a16="http://schemas.microsoft.com/office/drawing/2014/main" id="{190E3142-2B3C-25B1-4515-8CCD719B4824}"/>
                </a:ext>
              </a:extLst>
            </p:cNvPr>
            <p:cNvSpPr/>
            <p:nvPr/>
          </p:nvSpPr>
          <p:spPr>
            <a:xfrm>
              <a:off x="5774419" y="1932826"/>
              <a:ext cx="1477571" cy="221243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12700" cap="flat" cmpd="sng" algn="ctr">
              <a:solidFill>
                <a:srgbClr val="3367F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pl-PL" sz="600" kern="0" dirty="0">
                  <a:latin typeface="+mj-lt"/>
                </a:rPr>
                <a:t>Start </a:t>
              </a:r>
              <a:r>
                <a:rPr lang="pl-PL" sz="600" kern="0" dirty="0" err="1">
                  <a:latin typeface="+mj-lt"/>
                </a:rPr>
                <a:t>works</a:t>
              </a:r>
              <a:r>
                <a:rPr lang="pl-PL" sz="600" kern="0" dirty="0">
                  <a:latin typeface="+mj-lt"/>
                </a:rPr>
                <a:t> with CORPO </a:t>
              </a:r>
              <a:r>
                <a:rPr lang="pl-PL" sz="600" kern="0" dirty="0" err="1">
                  <a:latin typeface="+mj-lt"/>
                </a:rPr>
                <a:t>area</a:t>
              </a:r>
              <a:endParaRPr lang="en-US" sz="600" kern="0" dirty="0">
                <a:latin typeface="+mj-lt"/>
              </a:endParaRPr>
            </a:p>
          </p:txBody>
        </p:sp>
        <p:sp>
          <p:nvSpPr>
            <p:cNvPr id="94" name="Rechteck 53">
              <a:extLst>
                <a:ext uri="{FF2B5EF4-FFF2-40B4-BE49-F238E27FC236}">
                  <a16:creationId xmlns:a16="http://schemas.microsoft.com/office/drawing/2014/main" id="{24AB4EB0-7692-4B41-9DF3-152A7BC2EDC6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95" name="Text Box 49">
            <a:extLst>
              <a:ext uri="{FF2B5EF4-FFF2-40B4-BE49-F238E27FC236}">
                <a16:creationId xmlns:a16="http://schemas.microsoft.com/office/drawing/2014/main" id="{5F8FF5A1-9D6B-F5DE-C83B-C021D81842D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362181" y="760355"/>
            <a:ext cx="433940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96CA12"/>
                </a:solidFill>
                <a:latin typeface="Calibri"/>
              </a:rPr>
              <a:t>DONE</a:t>
            </a:r>
            <a:endParaRPr lang="en-GB" sz="800" b="1" kern="0" dirty="0">
              <a:solidFill>
                <a:srgbClr val="96CA12"/>
              </a:solidFill>
              <a:latin typeface="Calibri"/>
            </a:endParaRPr>
          </a:p>
        </p:txBody>
      </p: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5158CE07-FDB3-1859-C5FA-C94FB265373E}"/>
              </a:ext>
            </a:extLst>
          </p:cNvPr>
          <p:cNvCxnSpPr>
            <a:cxnSpLocks/>
          </p:cNvCxnSpPr>
          <p:nvPr/>
        </p:nvCxnSpPr>
        <p:spPr bwMode="gray">
          <a:xfrm>
            <a:off x="3790021" y="2999094"/>
            <a:ext cx="0" cy="1206738"/>
          </a:xfrm>
          <a:prstGeom prst="line">
            <a:avLst/>
          </a:prstGeom>
          <a:noFill/>
          <a:ln w="9525" cap="flat" cmpd="sng" algn="ctr">
            <a:solidFill>
              <a:srgbClr val="B8B8B8"/>
            </a:solidFill>
            <a:prstDash val="solid"/>
            <a:miter lim="800000"/>
            <a:headEnd type="oval" w="lg" len="lg"/>
          </a:ln>
          <a:effectLst/>
        </p:spPr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6D0C219-5994-DE75-A606-7863BE7E9A1E}"/>
              </a:ext>
            </a:extLst>
          </p:cNvPr>
          <p:cNvGrpSpPr/>
          <p:nvPr/>
        </p:nvGrpSpPr>
        <p:grpSpPr>
          <a:xfrm>
            <a:off x="2981926" y="3730891"/>
            <a:ext cx="1062243" cy="897633"/>
            <a:chOff x="5819520" y="2458346"/>
            <a:chExt cx="2087519" cy="3569274"/>
          </a:xfrm>
        </p:grpSpPr>
        <p:sp>
          <p:nvSpPr>
            <p:cNvPr id="27" name="Rounded Rectangle 23">
              <a:extLst>
                <a:ext uri="{FF2B5EF4-FFF2-40B4-BE49-F238E27FC236}">
                  <a16:creationId xmlns:a16="http://schemas.microsoft.com/office/drawing/2014/main" id="{9EBCB424-046F-1541-5106-EC276F01506A}"/>
                </a:ext>
              </a:extLst>
            </p:cNvPr>
            <p:cNvSpPr/>
            <p:nvPr/>
          </p:nvSpPr>
          <p:spPr>
            <a:xfrm>
              <a:off x="6555798" y="3815186"/>
              <a:ext cx="1351241" cy="221243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en-US" sz="600" kern="0" dirty="0">
                  <a:latin typeface="+mj-lt"/>
                </a:rPr>
                <a:t>Start of the workshop with the Supplier</a:t>
              </a:r>
            </a:p>
          </p:txBody>
        </p:sp>
        <p:sp>
          <p:nvSpPr>
            <p:cNvPr id="31" name="Rechteck 53">
              <a:extLst>
                <a:ext uri="{FF2B5EF4-FFF2-40B4-BE49-F238E27FC236}">
                  <a16:creationId xmlns:a16="http://schemas.microsoft.com/office/drawing/2014/main" id="{95F10D2D-5C6B-BE85-C389-DAE18DADD4E5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32" name="Text Box 49">
            <a:extLst>
              <a:ext uri="{FF2B5EF4-FFF2-40B4-BE49-F238E27FC236}">
                <a16:creationId xmlns:a16="http://schemas.microsoft.com/office/drawing/2014/main" id="{066A9C8C-88E6-01D4-CD31-04CCC1765C0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371167" y="4024664"/>
            <a:ext cx="428328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96CA12"/>
                </a:solidFill>
                <a:latin typeface="Calibri"/>
              </a:rPr>
              <a:t>27.02</a:t>
            </a:r>
            <a:endParaRPr lang="en-GB" sz="800" b="1" kern="0" dirty="0">
              <a:solidFill>
                <a:srgbClr val="96CA12"/>
              </a:solidFill>
              <a:latin typeface="Calibri"/>
            </a:endParaRPr>
          </a:p>
        </p:txBody>
      </p:sp>
      <p:grpSp>
        <p:nvGrpSpPr>
          <p:cNvPr id="75" name="Group 24">
            <a:extLst>
              <a:ext uri="{FF2B5EF4-FFF2-40B4-BE49-F238E27FC236}">
                <a16:creationId xmlns:a16="http://schemas.microsoft.com/office/drawing/2014/main" id="{AAE21687-57B9-B703-AA89-4428D326A56C}"/>
              </a:ext>
            </a:extLst>
          </p:cNvPr>
          <p:cNvGrpSpPr/>
          <p:nvPr/>
        </p:nvGrpSpPr>
        <p:grpSpPr>
          <a:xfrm>
            <a:off x="3971787" y="4840014"/>
            <a:ext cx="1000288" cy="259056"/>
            <a:chOff x="5720844" y="1932826"/>
            <a:chExt cx="1363657" cy="2212434"/>
          </a:xfrm>
        </p:grpSpPr>
        <p:sp>
          <p:nvSpPr>
            <p:cNvPr id="85" name="Rounded Rectangle 23">
              <a:extLst>
                <a:ext uri="{FF2B5EF4-FFF2-40B4-BE49-F238E27FC236}">
                  <a16:creationId xmlns:a16="http://schemas.microsoft.com/office/drawing/2014/main" id="{A16553B0-977C-72D7-FE6C-1DF2A872DFFF}"/>
                </a:ext>
              </a:extLst>
            </p:cNvPr>
            <p:cNvSpPr/>
            <p:nvPr/>
          </p:nvSpPr>
          <p:spPr>
            <a:xfrm>
              <a:off x="5720844" y="1932826"/>
              <a:ext cx="1351240" cy="221243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pl-PL" sz="600" b="1" kern="0" dirty="0">
                  <a:latin typeface="+mj-lt"/>
                </a:rPr>
                <a:t>Deadline for </a:t>
              </a:r>
              <a:r>
                <a:rPr lang="pl-PL" sz="600" b="1" kern="0" dirty="0" err="1">
                  <a:latin typeface="+mj-lt"/>
                </a:rPr>
                <a:t>letter</a:t>
              </a:r>
              <a:r>
                <a:rPr lang="pl-PL" sz="600" b="1" kern="0" dirty="0">
                  <a:latin typeface="+mj-lt"/>
                </a:rPr>
                <a:t> of </a:t>
              </a:r>
              <a:r>
                <a:rPr lang="pl-PL" sz="600" b="1" kern="0" dirty="0" err="1">
                  <a:latin typeface="+mj-lt"/>
                </a:rPr>
                <a:t>intent</a:t>
              </a:r>
              <a:endParaRPr lang="en-US" sz="600" b="1" kern="0" dirty="0">
                <a:latin typeface="+mj-lt"/>
              </a:endParaRPr>
            </a:p>
          </p:txBody>
        </p:sp>
        <p:sp>
          <p:nvSpPr>
            <p:cNvPr id="86" name="Rechteck 53">
              <a:extLst>
                <a:ext uri="{FF2B5EF4-FFF2-40B4-BE49-F238E27FC236}">
                  <a16:creationId xmlns:a16="http://schemas.microsoft.com/office/drawing/2014/main" id="{84974B31-D4EC-E6B7-905E-44702E2C3056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87" name="Group 24">
            <a:extLst>
              <a:ext uri="{FF2B5EF4-FFF2-40B4-BE49-F238E27FC236}">
                <a16:creationId xmlns:a16="http://schemas.microsoft.com/office/drawing/2014/main" id="{01FD30B3-E4BC-9A98-33DC-E8F1BA65D61A}"/>
              </a:ext>
            </a:extLst>
          </p:cNvPr>
          <p:cNvGrpSpPr/>
          <p:nvPr/>
        </p:nvGrpSpPr>
        <p:grpSpPr>
          <a:xfrm>
            <a:off x="3379343" y="3127421"/>
            <a:ext cx="672365" cy="443056"/>
            <a:chOff x="5774421" y="1932826"/>
            <a:chExt cx="1351240" cy="2212434"/>
          </a:xfrm>
        </p:grpSpPr>
        <p:sp>
          <p:nvSpPr>
            <p:cNvPr id="89" name="Rounded Rectangle 23">
              <a:extLst>
                <a:ext uri="{FF2B5EF4-FFF2-40B4-BE49-F238E27FC236}">
                  <a16:creationId xmlns:a16="http://schemas.microsoft.com/office/drawing/2014/main" id="{15D0F572-6A8A-9131-9E25-27431691485B}"/>
                </a:ext>
              </a:extLst>
            </p:cNvPr>
            <p:cNvSpPr/>
            <p:nvPr/>
          </p:nvSpPr>
          <p:spPr>
            <a:xfrm>
              <a:off x="5774421" y="1932826"/>
              <a:ext cx="1351240" cy="2212434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pl-PL" sz="600" kern="0" dirty="0">
                  <a:latin typeface="+mj-lt"/>
                </a:rPr>
                <a:t>Project Kick-Off</a:t>
              </a:r>
              <a:endParaRPr lang="en-US" sz="600" kern="0" dirty="0">
                <a:latin typeface="+mj-lt"/>
              </a:endParaRPr>
            </a:p>
          </p:txBody>
        </p:sp>
        <p:sp>
          <p:nvSpPr>
            <p:cNvPr id="91" name="Rechteck 53">
              <a:extLst>
                <a:ext uri="{FF2B5EF4-FFF2-40B4-BE49-F238E27FC236}">
                  <a16:creationId xmlns:a16="http://schemas.microsoft.com/office/drawing/2014/main" id="{4B328FF7-C151-C0F5-B3D5-0B05C4AD6A49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93" name="Text Box 49">
            <a:extLst>
              <a:ext uri="{FF2B5EF4-FFF2-40B4-BE49-F238E27FC236}">
                <a16:creationId xmlns:a16="http://schemas.microsoft.com/office/drawing/2014/main" id="{367FA045-116E-1C22-A335-6F3EF8CE212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340539" y="3090343"/>
            <a:ext cx="430065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96CA12"/>
                </a:solidFill>
                <a:latin typeface="Calibri"/>
              </a:rPr>
              <a:t>27.02</a:t>
            </a:r>
            <a:endParaRPr lang="en-GB" sz="800" b="1" kern="0" dirty="0">
              <a:solidFill>
                <a:srgbClr val="96CA12"/>
              </a:solidFill>
              <a:latin typeface="Calibri"/>
            </a:endParaRPr>
          </a:p>
        </p:txBody>
      </p:sp>
      <p:sp>
        <p:nvSpPr>
          <p:cNvPr id="33" name="Text Box 49">
            <a:extLst>
              <a:ext uri="{FF2B5EF4-FFF2-40B4-BE49-F238E27FC236}">
                <a16:creationId xmlns:a16="http://schemas.microsoft.com/office/drawing/2014/main" id="{1B54D5B2-E746-621C-660A-1C5DFBE5EAD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508752" y="4735172"/>
            <a:ext cx="423790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00B0F0"/>
                </a:solidFill>
                <a:latin typeface="Calibri"/>
              </a:rPr>
              <a:t>04.03</a:t>
            </a:r>
            <a:endParaRPr lang="en-GB" sz="800" b="1" kern="0" dirty="0">
              <a:solidFill>
                <a:srgbClr val="00B0F0"/>
              </a:solidFill>
              <a:latin typeface="Calibri"/>
            </a:endParaRPr>
          </a:p>
        </p:txBody>
      </p:sp>
      <p:grpSp>
        <p:nvGrpSpPr>
          <p:cNvPr id="49" name="Group 24">
            <a:extLst>
              <a:ext uri="{FF2B5EF4-FFF2-40B4-BE49-F238E27FC236}">
                <a16:creationId xmlns:a16="http://schemas.microsoft.com/office/drawing/2014/main" id="{26D43B5A-37FA-2C3D-E004-3DA604478AA1}"/>
              </a:ext>
            </a:extLst>
          </p:cNvPr>
          <p:cNvGrpSpPr/>
          <p:nvPr/>
        </p:nvGrpSpPr>
        <p:grpSpPr>
          <a:xfrm>
            <a:off x="3029082" y="1403826"/>
            <a:ext cx="615076" cy="398463"/>
            <a:chOff x="5774421" y="2458346"/>
            <a:chExt cx="1351240" cy="1686910"/>
          </a:xfrm>
        </p:grpSpPr>
        <p:sp>
          <p:nvSpPr>
            <p:cNvPr id="50" name="Rounded Rectangle 23">
              <a:extLst>
                <a:ext uri="{FF2B5EF4-FFF2-40B4-BE49-F238E27FC236}">
                  <a16:creationId xmlns:a16="http://schemas.microsoft.com/office/drawing/2014/main" id="{23F72E07-10DD-52FF-26D6-99286065449B}"/>
                </a:ext>
              </a:extLst>
            </p:cNvPr>
            <p:cNvSpPr/>
            <p:nvPr/>
          </p:nvSpPr>
          <p:spPr>
            <a:xfrm>
              <a:off x="5774421" y="3052091"/>
              <a:ext cx="1351240" cy="1093165"/>
            </a:xfrm>
            <a:prstGeom prst="roundRect">
              <a:avLst>
                <a:gd name="adj" fmla="val 5384"/>
              </a:avLst>
            </a:prstGeom>
            <a:solidFill>
              <a:srgbClr val="FFFFFF"/>
            </a:solidFill>
            <a:ln w="6350" cap="flat" cmpd="sng" algn="ctr">
              <a:solidFill>
                <a:srgbClr val="2A729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443">
                <a:defRPr/>
              </a:pPr>
              <a:r>
                <a:rPr lang="pl-PL" sz="600" b="1" kern="0" dirty="0">
                  <a:latin typeface="+mj-lt"/>
                </a:rPr>
                <a:t>PPC </a:t>
              </a:r>
              <a:endParaRPr lang="en-US" sz="600" b="1" kern="0" dirty="0">
                <a:latin typeface="+mj-lt"/>
              </a:endParaRPr>
            </a:p>
          </p:txBody>
        </p:sp>
        <p:sp>
          <p:nvSpPr>
            <p:cNvPr id="51" name="Rechteck 53">
              <a:extLst>
                <a:ext uri="{FF2B5EF4-FFF2-40B4-BE49-F238E27FC236}">
                  <a16:creationId xmlns:a16="http://schemas.microsoft.com/office/drawing/2014/main" id="{37125946-6A47-D3B8-CA53-5D496B9B13E8}"/>
                </a:ext>
              </a:extLst>
            </p:cNvPr>
            <p:cNvSpPr/>
            <p:nvPr/>
          </p:nvSpPr>
          <p:spPr>
            <a:xfrm>
              <a:off x="5819520" y="2458346"/>
              <a:ext cx="1264981" cy="35498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443">
                <a:lnSpc>
                  <a:spcPts val="600"/>
                </a:lnSpc>
                <a:defRPr/>
              </a:pPr>
              <a:endParaRPr lang="en-US" sz="800" kern="0" noProof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69" name="Text Box 49">
            <a:extLst>
              <a:ext uri="{FF2B5EF4-FFF2-40B4-BE49-F238E27FC236}">
                <a16:creationId xmlns:a16="http://schemas.microsoft.com/office/drawing/2014/main" id="{00EEC798-D562-6C5F-4AD0-B1503D446E2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168859" y="1495149"/>
            <a:ext cx="477203" cy="1231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0" rIns="91420" bIns="0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32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2"/>
              </a:buBlip>
              <a:defRPr sz="28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Blip>
                <a:blip r:embed="rId2"/>
              </a:buBlip>
              <a:defRPr sz="24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rgbClr val="1E44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2912">
              <a:spcBef>
                <a:spcPct val="50000"/>
              </a:spcBef>
              <a:buFontTx/>
              <a:buNone/>
              <a:defRPr/>
            </a:pPr>
            <a:r>
              <a:rPr lang="pl-PL" sz="800" b="1" kern="0" dirty="0">
                <a:solidFill>
                  <a:srgbClr val="96CA12"/>
                </a:solidFill>
                <a:latin typeface="Calibri"/>
              </a:rPr>
              <a:t>DONE</a:t>
            </a:r>
            <a:endParaRPr lang="en-GB" sz="800" b="1" kern="0" dirty="0">
              <a:solidFill>
                <a:srgbClr val="96CA12"/>
              </a:solidFill>
              <a:latin typeface="Calibri"/>
            </a:endParaRPr>
          </a:p>
        </p:txBody>
      </p:sp>
      <p:sp>
        <p:nvSpPr>
          <p:cNvPr id="6" name="Rounded Rectangle 23">
            <a:extLst>
              <a:ext uri="{FF2B5EF4-FFF2-40B4-BE49-F238E27FC236}">
                <a16:creationId xmlns:a16="http://schemas.microsoft.com/office/drawing/2014/main" id="{CA92FFBB-5B7F-24D3-14C2-0FA0B1ADB3C1}"/>
              </a:ext>
            </a:extLst>
          </p:cNvPr>
          <p:cNvSpPr/>
          <p:nvPr/>
        </p:nvSpPr>
        <p:spPr>
          <a:xfrm>
            <a:off x="7956865" y="1840324"/>
            <a:ext cx="1121222" cy="440713"/>
          </a:xfrm>
          <a:prstGeom prst="roundRect">
            <a:avLst>
              <a:gd name="adj" fmla="val 5384"/>
            </a:avLst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443">
              <a:defRPr/>
            </a:pPr>
            <a:r>
              <a:rPr lang="pl-PL" sz="600" b="1" kern="0" dirty="0">
                <a:latin typeface="+mj-lt"/>
              </a:rPr>
              <a:t>06.2027 - </a:t>
            </a:r>
            <a:r>
              <a:rPr lang="en-US" sz="600" b="1" kern="0" dirty="0">
                <a:latin typeface="+mj-lt"/>
              </a:rPr>
              <a:t>implementation of the last part of project</a:t>
            </a:r>
            <a:r>
              <a:rPr lang="pl-PL" sz="600" b="1" kern="0" dirty="0">
                <a:latin typeface="+mj-lt"/>
              </a:rPr>
              <a:t> </a:t>
            </a:r>
            <a:r>
              <a:rPr lang="pl-PL" sz="600" b="1" kern="0" dirty="0" err="1">
                <a:latin typeface="+mj-lt"/>
              </a:rPr>
              <a:t>scope</a:t>
            </a:r>
            <a:r>
              <a:rPr lang="pl-PL" sz="600" b="1" kern="0" dirty="0">
                <a:latin typeface="+mj-lt"/>
              </a:rPr>
              <a:t> </a:t>
            </a:r>
            <a:endParaRPr lang="en-US" sz="600" b="1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74898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ycle_2"/>
</p:tagLst>
</file>

<file path=ppt/theme/theme1.xml><?xml version="1.0" encoding="utf-8"?>
<a:theme xmlns:a="http://schemas.openxmlformats.org/drawingml/2006/main" name="Credit Agricole motyw 16x9">
  <a:themeElements>
    <a:clrScheme name="Niestandardowy 1">
      <a:dk1>
        <a:srgbClr val="000000"/>
      </a:dk1>
      <a:lt1>
        <a:srgbClr val="FFFFFF"/>
      </a:lt1>
      <a:dk2>
        <a:srgbClr val="ED1B2F"/>
      </a:dk2>
      <a:lt2>
        <a:srgbClr val="81BC00"/>
      </a:lt2>
      <a:accent1>
        <a:srgbClr val="009597"/>
      </a:accent1>
      <a:accent2>
        <a:srgbClr val="BEC9D3"/>
      </a:accent2>
      <a:accent3>
        <a:srgbClr val="7E93A5"/>
      </a:accent3>
      <a:accent4>
        <a:srgbClr val="81BC00"/>
      </a:accent4>
      <a:accent5>
        <a:srgbClr val="70A300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2.xml><?xml version="1.0" encoding="utf-8"?>
<a:theme xmlns:a="http://schemas.openxmlformats.org/drawingml/2006/main" name="1_Credit Agricole motyw 16x9">
  <a:themeElements>
    <a:clrScheme name="Niestandardowy 2">
      <a:dk1>
        <a:srgbClr val="000000"/>
      </a:dk1>
      <a:lt1>
        <a:srgbClr val="FFFFFF"/>
      </a:lt1>
      <a:dk2>
        <a:srgbClr val="ED1B2F"/>
      </a:dk2>
      <a:lt2>
        <a:srgbClr val="96CA12"/>
      </a:lt2>
      <a:accent1>
        <a:srgbClr val="009597"/>
      </a:accent1>
      <a:accent2>
        <a:srgbClr val="BEC9D3"/>
      </a:accent2>
      <a:accent3>
        <a:srgbClr val="7E93A5"/>
      </a:accent3>
      <a:accent4>
        <a:srgbClr val="487697"/>
      </a:accent4>
      <a:accent5>
        <a:srgbClr val="96CA12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3.xml><?xml version="1.0" encoding="utf-8"?>
<a:theme xmlns:a="http://schemas.openxmlformats.org/drawingml/2006/main" name="2_Credit Agricole motyw 16x9">
  <a:themeElements>
    <a:clrScheme name="Niestandardowy 2">
      <a:dk1>
        <a:srgbClr val="000000"/>
      </a:dk1>
      <a:lt1>
        <a:srgbClr val="FFFFFF"/>
      </a:lt1>
      <a:dk2>
        <a:srgbClr val="ED1B2F"/>
      </a:dk2>
      <a:lt2>
        <a:srgbClr val="96CA12"/>
      </a:lt2>
      <a:accent1>
        <a:srgbClr val="009597"/>
      </a:accent1>
      <a:accent2>
        <a:srgbClr val="BEC9D3"/>
      </a:accent2>
      <a:accent3>
        <a:srgbClr val="7E93A5"/>
      </a:accent3>
      <a:accent4>
        <a:srgbClr val="487697"/>
      </a:accent4>
      <a:accent5>
        <a:srgbClr val="96CA12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4.xml><?xml version="1.0" encoding="utf-8"?>
<a:theme xmlns:a="http://schemas.openxmlformats.org/drawingml/2006/main" name="3_Credit Agricole motyw 16x9">
  <a:themeElements>
    <a:clrScheme name="Niestandardowy 1">
      <a:dk1>
        <a:srgbClr val="000000"/>
      </a:dk1>
      <a:lt1>
        <a:srgbClr val="FFFFFF"/>
      </a:lt1>
      <a:dk2>
        <a:srgbClr val="ED1B2F"/>
      </a:dk2>
      <a:lt2>
        <a:srgbClr val="81BC00"/>
      </a:lt2>
      <a:accent1>
        <a:srgbClr val="009597"/>
      </a:accent1>
      <a:accent2>
        <a:srgbClr val="BEC9D3"/>
      </a:accent2>
      <a:accent3>
        <a:srgbClr val="7E93A5"/>
      </a:accent3>
      <a:accent4>
        <a:srgbClr val="81BC00"/>
      </a:accent4>
      <a:accent5>
        <a:srgbClr val="70A300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5.xml><?xml version="1.0" encoding="utf-8"?>
<a:theme xmlns:a="http://schemas.openxmlformats.org/drawingml/2006/main" name="4_Credit Agricole motyw 16x9">
  <a:themeElements>
    <a:clrScheme name="Niestandardowy 1">
      <a:dk1>
        <a:srgbClr val="000000"/>
      </a:dk1>
      <a:lt1>
        <a:srgbClr val="FFFFFF"/>
      </a:lt1>
      <a:dk2>
        <a:srgbClr val="ED1B2F"/>
      </a:dk2>
      <a:lt2>
        <a:srgbClr val="81BC00"/>
      </a:lt2>
      <a:accent1>
        <a:srgbClr val="009597"/>
      </a:accent1>
      <a:accent2>
        <a:srgbClr val="BEC9D3"/>
      </a:accent2>
      <a:accent3>
        <a:srgbClr val="7E93A5"/>
      </a:accent3>
      <a:accent4>
        <a:srgbClr val="81BC00"/>
      </a:accent4>
      <a:accent5>
        <a:srgbClr val="70A300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F290305BCA1F64B876FE524D0984BE1" ma:contentTypeVersion="3" ma:contentTypeDescription="Utwórz nowy dokument." ma:contentTypeScope="" ma:versionID="ad77dd8190bf8748dff8ff367591354b">
  <xsd:schema xmlns:xsd="http://www.w3.org/2001/XMLSchema" xmlns:xs="http://www.w3.org/2001/XMLSchema" xmlns:p="http://schemas.microsoft.com/office/2006/metadata/properties" xmlns:ns2="0fa5dd19-a8f1-4756-a893-13bcb25a4c77" xmlns:ns3="ae1eeea2-582f-404c-809b-12483f0738e5" targetNamespace="http://schemas.microsoft.com/office/2006/metadata/properties" ma:root="true" ma:fieldsID="9cf74cba64ceccb1960e50223496ca18" ns2:_="" ns3:_="">
    <xsd:import namespace="0fa5dd19-a8f1-4756-a893-13bcb25a4c77"/>
    <xsd:import namespace="ae1eeea2-582f-404c-809b-12483f0738e5"/>
    <xsd:element name="properties">
      <xsd:complexType>
        <xsd:sequence>
          <xsd:element name="documentManagement">
            <xsd:complexType>
              <xsd:all>
                <xsd:element ref="ns2:Nr_x0020_dokumentu_x0020_GW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a5dd19-a8f1-4756-a893-13bcb25a4c77" elementFormDefault="qualified">
    <xsd:import namespace="http://schemas.microsoft.com/office/2006/documentManagement/types"/>
    <xsd:import namespace="http://schemas.microsoft.com/office/infopath/2007/PartnerControls"/>
    <xsd:element name="Nr_x0020_dokumentu_x0020_GW" ma:index="8" nillable="true" ma:displayName="Nr dokumentu GW" ma:decimals="0" ma:internalName="Nr_x0020_dokumentu_x0020_GW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1eeea2-582f-404c-809b-12483f0738e5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e1eeea2-582f-404c-809b-12483f0738e5">
      <UserInfo>
        <DisplayName>Filip Kwiatkowski</DisplayName>
        <AccountId>1095</AccountId>
        <AccountType/>
      </UserInfo>
      <UserInfo>
        <DisplayName>Katarzyna Borwinska</DisplayName>
        <AccountId>2603</AccountId>
        <AccountType/>
      </UserInfo>
    </SharedWithUsers>
    <Nr_x0020_dokumentu_x0020_GW xmlns="0fa5dd19-a8f1-4756-a893-13bcb25a4c77" xsi:nil="true"/>
  </documentManagement>
</p:properties>
</file>

<file path=customXml/itemProps1.xml><?xml version="1.0" encoding="utf-8"?>
<ds:datastoreItem xmlns:ds="http://schemas.openxmlformats.org/officeDocument/2006/customXml" ds:itemID="{9C7C018E-4377-45C3-A386-E024443997A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795FDF-ACDE-4306-98C7-33AFE043A3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a5dd19-a8f1-4756-a893-13bcb25a4c77"/>
    <ds:schemaRef ds:uri="ae1eeea2-582f-404c-809b-12483f0738e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2B38EE2-75CE-4F02-ADCB-9BADCB6CBFD1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purl.org/dc/dcmitype/"/>
    <ds:schemaRef ds:uri="ae1eeea2-582f-404c-809b-12483f0738e5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0fa5dd19-a8f1-4756-a893-13bcb25a4c77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167</TotalTime>
  <Words>1377</Words>
  <Application>Microsoft Office PowerPoint</Application>
  <PresentationFormat>Pokaz na ekranie (16:9)</PresentationFormat>
  <Paragraphs>248</Paragraphs>
  <Slides>9</Slides>
  <Notes>1</Notes>
  <HiddenSlides>0</HiddenSlides>
  <MMClips>0</MMClips>
  <ScaleCrop>false</ScaleCrop>
  <HeadingPairs>
    <vt:vector size="6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5</vt:i4>
      </vt:variant>
      <vt:variant>
        <vt:lpstr>Tytuły slajdów</vt:lpstr>
      </vt:variant>
      <vt:variant>
        <vt:i4>9</vt:i4>
      </vt:variant>
    </vt:vector>
  </HeadingPairs>
  <TitlesOfParts>
    <vt:vector size="20" baseType="lpstr">
      <vt:lpstr>Arial</vt:lpstr>
      <vt:lpstr>Arial Black</vt:lpstr>
      <vt:lpstr>Calibri</vt:lpstr>
      <vt:lpstr>Open Sans Regular</vt:lpstr>
      <vt:lpstr>Verdana</vt:lpstr>
      <vt:lpstr>Wingdings</vt:lpstr>
      <vt:lpstr>Credit Agricole motyw 16x9</vt:lpstr>
      <vt:lpstr>1_Credit Agricole motyw 16x9</vt:lpstr>
      <vt:lpstr>2_Credit Agricole motyw 16x9</vt:lpstr>
      <vt:lpstr>3_Credit Agricole motyw 16x9</vt:lpstr>
      <vt:lpstr>4_Credit Agricole motyw 16x9</vt:lpstr>
      <vt:lpstr>New KYC SOLution   CABP</vt:lpstr>
      <vt:lpstr>New KYC solution- Goals</vt:lpstr>
      <vt:lpstr>AML risk – portfolio structure</vt:lpstr>
      <vt:lpstr>SME/AGRO KYC revision plan 2026</vt:lpstr>
      <vt:lpstr>Number of KYC/AML tasks per Advisor 01-02/2026  25% of the advisor's nominal working time (excluding holidays and L4 (sick leave)) is devoted to KYC/AML tasks</vt:lpstr>
      <vt:lpstr>Excessive transaction alerts</vt:lpstr>
      <vt:lpstr>New KYC solution- Main scope</vt:lpstr>
      <vt:lpstr>New KYC Solution- Architecture</vt:lpstr>
      <vt:lpstr>New KYC Solution- Timelin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Użytkownik Microsoft Office</dc:creator>
  <cp:lastModifiedBy>Adam Krawczyk</cp:lastModifiedBy>
  <cp:revision>3824</cp:revision>
  <cp:lastPrinted>2025-03-11T17:43:57Z</cp:lastPrinted>
  <dcterms:created xsi:type="dcterms:W3CDTF">2017-04-11T12:11:16Z</dcterms:created>
  <dcterms:modified xsi:type="dcterms:W3CDTF">2026-03-11T06:0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F290305BCA1F64B876FE524D0984BE1</vt:lpwstr>
  </property>
  <property fmtid="{D5CDD505-2E9C-101B-9397-08002B2CF9AE}" pid="3" name="Typ_dokumentu">
    <vt:lpwstr/>
  </property>
  <property fmtid="{D5CDD505-2E9C-101B-9397-08002B2CF9AE}" pid="4" name="Status_dokumentu">
    <vt:lpwstr/>
  </property>
</Properties>
</file>